
<file path=[Content_Types].xml><?xml version="1.0" encoding="utf-8"?>
<Types xmlns="http://schemas.openxmlformats.org/package/2006/content-types">
  <Default Extension="bin" ContentType="application/vnd.openxmlformats-officedocument.oleObject"/>
  <Default Extension="docx" ContentType="application/vnd.openxmlformats-officedocument.wordprocessingml.documen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3" r:id="rId4"/>
    <p:sldMasterId id="2147483721" r:id="rId5"/>
  </p:sldMasterIdLst>
  <p:notesMasterIdLst>
    <p:notesMasterId r:id="rId29"/>
  </p:notesMasterIdLst>
  <p:handoutMasterIdLst>
    <p:handoutMasterId r:id="rId30"/>
  </p:handoutMasterIdLst>
  <p:sldIdLst>
    <p:sldId id="256" r:id="rId6"/>
    <p:sldId id="257" r:id="rId7"/>
    <p:sldId id="258" r:id="rId8"/>
    <p:sldId id="262" r:id="rId9"/>
    <p:sldId id="259" r:id="rId10"/>
    <p:sldId id="264" r:id="rId11"/>
    <p:sldId id="279" r:id="rId12"/>
    <p:sldId id="278" r:id="rId13"/>
    <p:sldId id="277" r:id="rId14"/>
    <p:sldId id="276" r:id="rId15"/>
    <p:sldId id="275" r:id="rId16"/>
    <p:sldId id="274" r:id="rId17"/>
    <p:sldId id="273" r:id="rId18"/>
    <p:sldId id="272" r:id="rId19"/>
    <p:sldId id="271" r:id="rId20"/>
    <p:sldId id="263" r:id="rId21"/>
    <p:sldId id="265" r:id="rId22"/>
    <p:sldId id="266" r:id="rId23"/>
    <p:sldId id="267" r:id="rId24"/>
    <p:sldId id="269" r:id="rId25"/>
    <p:sldId id="270" r:id="rId26"/>
    <p:sldId id="280" r:id="rId27"/>
    <p:sldId id="268" r:id="rId28"/>
  </p:sldIdLst>
  <p:sldSz cx="12192000" cy="6858000"/>
  <p:notesSz cx="6858000" cy="9144000"/>
  <p:custDataLst>
    <p:tags r:id="rId31"/>
  </p:custDataLst>
  <p:defaultTextStyle>
    <a:defPPr>
      <a:defRPr lang="en-US"/>
    </a:defPPr>
    <a:lvl1pPr marL="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228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457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685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9144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1430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1371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1600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1828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A0000"/>
    <a:srgbClr val="020000"/>
    <a:srgbClr val="010000"/>
    <a:srgbClr val="CEFFDF"/>
    <a:srgbClr val="FFFFFF"/>
    <a:srgbClr val="0000FF"/>
    <a:srgbClr val="0000FE"/>
    <a:srgbClr val="524B4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D11E0AA-764E-416F-98CB-8EE818C4657C}" v="13" dt="2022-09-26T12:21:38.101"/>
    <p1510:client id="{2DB82607-0987-48D0-801E-20EED6CAC1AB}" v="700" dt="2022-10-13T11:57:41.269"/>
    <p1510:client id="{5E347AC3-0F06-439A-83CA-F000962458E0}" v="40" dt="2022-10-03T07:15:34.462"/>
    <p1510:client id="{61FD4D37-4079-43E5-BB13-050574E51494}" v="9" dt="2022-10-12T10:27:32.939"/>
    <p1510:client id="{ED8EC2BC-EEE8-49DB-BA98-B73335C5180A}" v="5" dt="2022-09-30T08:50:51.91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ddels stil 2 – uthev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54" d="100"/>
          <a:sy n="154" d="100"/>
        </p:scale>
        <p:origin x="534" y="1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21" Type="http://schemas.openxmlformats.org/officeDocument/2006/relationships/slide" Target="slides/slide16.xml"/><Relationship Id="rId34" Type="http://schemas.openxmlformats.org/officeDocument/2006/relationships/theme" Target="theme/theme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presProps" Target="presProps.xml"/><Relationship Id="rId37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microsoft.com/office/2016/11/relationships/changesInfo" Target="changesInfos/changesInfo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handoutMaster" Target="handoutMasters/handoutMaster1.xml"/><Relationship Id="rId35" Type="http://schemas.openxmlformats.org/officeDocument/2006/relationships/tableStyles" Target="tableStyles.xml"/><Relationship Id="rId8" Type="http://schemas.openxmlformats.org/officeDocument/2006/relationships/slide" Target="slides/slide3.xml"/><Relationship Id="rId3" Type="http://schemas.openxmlformats.org/officeDocument/2006/relationships/customXml" Target="../customXml/item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arjei Brekke" userId="S::tarjeibr@uio.no::b7adef12-d377-4333-8abe-995b7476d7a5" providerId="AD" clId="Web-{ED8EC2BC-EEE8-49DB-BA98-B73335C5180A}"/>
    <pc:docChg chg="modSld">
      <pc:chgData name="Tarjei Brekke" userId="S::tarjeibr@uio.no::b7adef12-d377-4333-8abe-995b7476d7a5" providerId="AD" clId="Web-{ED8EC2BC-EEE8-49DB-BA98-B73335C5180A}" dt="2022-09-30T08:50:51.919" v="4" actId="20577"/>
      <pc:docMkLst>
        <pc:docMk/>
      </pc:docMkLst>
      <pc:sldChg chg="modSp">
        <pc:chgData name="Tarjei Brekke" userId="S::tarjeibr@uio.no::b7adef12-d377-4333-8abe-995b7476d7a5" providerId="AD" clId="Web-{ED8EC2BC-EEE8-49DB-BA98-B73335C5180A}" dt="2022-09-30T08:50:51.919" v="4" actId="20577"/>
        <pc:sldMkLst>
          <pc:docMk/>
          <pc:sldMk cId="946816380" sldId="270"/>
        </pc:sldMkLst>
        <pc:spChg chg="mod">
          <ac:chgData name="Tarjei Brekke" userId="S::tarjeibr@uio.no::b7adef12-d377-4333-8abe-995b7476d7a5" providerId="AD" clId="Web-{ED8EC2BC-EEE8-49DB-BA98-B73335C5180A}" dt="2022-09-30T08:50:51.919" v="4" actId="20577"/>
          <ac:spMkLst>
            <pc:docMk/>
            <pc:sldMk cId="946816380" sldId="270"/>
            <ac:spMk id="2" creationId="{A053AC7A-F04D-4F2E-A5C5-C759E1E64AD8}"/>
          </ac:spMkLst>
        </pc:spChg>
      </pc:sldChg>
    </pc:docChg>
  </pc:docChgLst>
  <pc:docChgLst>
    <pc:chgData name="Tarjei Brekke" userId="S::tarjeibr@uio.no::b7adef12-d377-4333-8abe-995b7476d7a5" providerId="AD" clId="Web-{8B050157-7620-4832-B16C-EF977353377C}"/>
    <pc:docChg chg="modSld">
      <pc:chgData name="Tarjei Brekke" userId="S::tarjeibr@uio.no::b7adef12-d377-4333-8abe-995b7476d7a5" providerId="AD" clId="Web-{8B050157-7620-4832-B16C-EF977353377C}" dt="2022-09-07T12:32:28.443" v="124" actId="20577"/>
      <pc:docMkLst>
        <pc:docMk/>
      </pc:docMkLst>
      <pc:sldChg chg="modSp">
        <pc:chgData name="Tarjei Brekke" userId="S::tarjeibr@uio.no::b7adef12-d377-4333-8abe-995b7476d7a5" providerId="AD" clId="Web-{8B050157-7620-4832-B16C-EF977353377C}" dt="2022-09-07T12:32:28.443" v="124" actId="20577"/>
        <pc:sldMkLst>
          <pc:docMk/>
          <pc:sldMk cId="151869653" sldId="265"/>
        </pc:sldMkLst>
        <pc:spChg chg="mod">
          <ac:chgData name="Tarjei Brekke" userId="S::tarjeibr@uio.no::b7adef12-d377-4333-8abe-995b7476d7a5" providerId="AD" clId="Web-{8B050157-7620-4832-B16C-EF977353377C}" dt="2022-09-07T12:32:28.443" v="124" actId="20577"/>
          <ac:spMkLst>
            <pc:docMk/>
            <pc:sldMk cId="151869653" sldId="265"/>
            <ac:spMk id="2" creationId="{C53CE54E-2DFF-4B39-BFCE-F61FF6A14B1F}"/>
          </ac:spMkLst>
        </pc:spChg>
      </pc:sldChg>
    </pc:docChg>
  </pc:docChgLst>
  <pc:docChgLst>
    <pc:chgData name="Tarjei Brekke" userId="S::tarjeibr@uio.no::b7adef12-d377-4333-8abe-995b7476d7a5" providerId="AD" clId="Web-{7B70E0B0-8ECE-4759-908C-A75324FFFF81}"/>
    <pc:docChg chg="modSld">
      <pc:chgData name="Tarjei Brekke" userId="S::tarjeibr@uio.no::b7adef12-d377-4333-8abe-995b7476d7a5" providerId="AD" clId="Web-{7B70E0B0-8ECE-4759-908C-A75324FFFF81}" dt="2022-09-05T09:42:19.213" v="416" actId="20577"/>
      <pc:docMkLst>
        <pc:docMk/>
      </pc:docMkLst>
      <pc:sldChg chg="modSp">
        <pc:chgData name="Tarjei Brekke" userId="S::tarjeibr@uio.no::b7adef12-d377-4333-8abe-995b7476d7a5" providerId="AD" clId="Web-{7B70E0B0-8ECE-4759-908C-A75324FFFF81}" dt="2022-09-05T09:39:19.265" v="377" actId="20577"/>
        <pc:sldMkLst>
          <pc:docMk/>
          <pc:sldMk cId="151869653" sldId="265"/>
        </pc:sldMkLst>
        <pc:spChg chg="mod">
          <ac:chgData name="Tarjei Brekke" userId="S::tarjeibr@uio.no::b7adef12-d377-4333-8abe-995b7476d7a5" providerId="AD" clId="Web-{7B70E0B0-8ECE-4759-908C-A75324FFFF81}" dt="2022-09-05T09:39:19.265" v="377" actId="20577"/>
          <ac:spMkLst>
            <pc:docMk/>
            <pc:sldMk cId="151869653" sldId="265"/>
            <ac:spMk id="2" creationId="{C53CE54E-2DFF-4B39-BFCE-F61FF6A14B1F}"/>
          </ac:spMkLst>
        </pc:spChg>
      </pc:sldChg>
      <pc:sldChg chg="modSp">
        <pc:chgData name="Tarjei Brekke" userId="S::tarjeibr@uio.no::b7adef12-d377-4333-8abe-995b7476d7a5" providerId="AD" clId="Web-{7B70E0B0-8ECE-4759-908C-A75324FFFF81}" dt="2022-09-05T09:38:33.653" v="363" actId="20577"/>
        <pc:sldMkLst>
          <pc:docMk/>
          <pc:sldMk cId="3732191344" sldId="266"/>
        </pc:sldMkLst>
        <pc:spChg chg="mod">
          <ac:chgData name="Tarjei Brekke" userId="S::tarjeibr@uio.no::b7adef12-d377-4333-8abe-995b7476d7a5" providerId="AD" clId="Web-{7B70E0B0-8ECE-4759-908C-A75324FFFF81}" dt="2022-09-05T09:38:33.653" v="363" actId="20577"/>
          <ac:spMkLst>
            <pc:docMk/>
            <pc:sldMk cId="3732191344" sldId="266"/>
            <ac:spMk id="2" creationId="{938ED88D-C62E-4DE5-84C6-AAAB8D133DF4}"/>
          </ac:spMkLst>
        </pc:spChg>
      </pc:sldChg>
      <pc:sldChg chg="modSp">
        <pc:chgData name="Tarjei Brekke" userId="S::tarjeibr@uio.no::b7adef12-d377-4333-8abe-995b7476d7a5" providerId="AD" clId="Web-{7B70E0B0-8ECE-4759-908C-A75324FFFF81}" dt="2022-09-05T09:42:19.213" v="416" actId="20577"/>
        <pc:sldMkLst>
          <pc:docMk/>
          <pc:sldMk cId="551951027" sldId="268"/>
        </pc:sldMkLst>
        <pc:spChg chg="mod">
          <ac:chgData name="Tarjei Brekke" userId="S::tarjeibr@uio.no::b7adef12-d377-4333-8abe-995b7476d7a5" providerId="AD" clId="Web-{7B70E0B0-8ECE-4759-908C-A75324FFFF81}" dt="2022-09-05T09:42:19.213" v="416" actId="20577"/>
          <ac:spMkLst>
            <pc:docMk/>
            <pc:sldMk cId="551951027" sldId="268"/>
            <ac:spMk id="4" creationId="{78478C57-20C2-4D3E-9510-772A589C3E66}"/>
          </ac:spMkLst>
        </pc:spChg>
      </pc:sldChg>
    </pc:docChg>
  </pc:docChgLst>
  <pc:docChgLst>
    <pc:chgData name="Tarjei Brekke" userId="S::tarjeibr@uio.no::b7adef12-d377-4333-8abe-995b7476d7a5" providerId="AD" clId="Web-{725359EC-AF9A-4F6D-8350-2761244A0155}"/>
    <pc:docChg chg="modSld">
      <pc:chgData name="Tarjei Brekke" userId="S::tarjeibr@uio.no::b7adef12-d377-4333-8abe-995b7476d7a5" providerId="AD" clId="Web-{725359EC-AF9A-4F6D-8350-2761244A0155}" dt="2022-09-08T14:21:09.358" v="39" actId="20577"/>
      <pc:docMkLst>
        <pc:docMk/>
      </pc:docMkLst>
      <pc:sldChg chg="modSp">
        <pc:chgData name="Tarjei Brekke" userId="S::tarjeibr@uio.no::b7adef12-d377-4333-8abe-995b7476d7a5" providerId="AD" clId="Web-{725359EC-AF9A-4F6D-8350-2761244A0155}" dt="2022-09-08T14:21:09.358" v="39" actId="20577"/>
        <pc:sldMkLst>
          <pc:docMk/>
          <pc:sldMk cId="151869653" sldId="265"/>
        </pc:sldMkLst>
        <pc:spChg chg="mod">
          <ac:chgData name="Tarjei Brekke" userId="S::tarjeibr@uio.no::b7adef12-d377-4333-8abe-995b7476d7a5" providerId="AD" clId="Web-{725359EC-AF9A-4F6D-8350-2761244A0155}" dt="2022-09-08T14:21:09.358" v="39" actId="20577"/>
          <ac:spMkLst>
            <pc:docMk/>
            <pc:sldMk cId="151869653" sldId="265"/>
            <ac:spMk id="2" creationId="{C53CE54E-2DFF-4B39-BFCE-F61FF6A14B1F}"/>
          </ac:spMkLst>
        </pc:spChg>
      </pc:sldChg>
      <pc:sldChg chg="modSp">
        <pc:chgData name="Tarjei Brekke" userId="S::tarjeibr@uio.no::b7adef12-d377-4333-8abe-995b7476d7a5" providerId="AD" clId="Web-{725359EC-AF9A-4F6D-8350-2761244A0155}" dt="2022-09-08T14:19:50.810" v="31" actId="14100"/>
        <pc:sldMkLst>
          <pc:docMk/>
          <pc:sldMk cId="3732191344" sldId="266"/>
        </pc:sldMkLst>
        <pc:spChg chg="mod">
          <ac:chgData name="Tarjei Brekke" userId="S::tarjeibr@uio.no::b7adef12-d377-4333-8abe-995b7476d7a5" providerId="AD" clId="Web-{725359EC-AF9A-4F6D-8350-2761244A0155}" dt="2022-09-08T14:19:50.810" v="31" actId="14100"/>
          <ac:spMkLst>
            <pc:docMk/>
            <pc:sldMk cId="3732191344" sldId="266"/>
            <ac:spMk id="2" creationId="{938ED88D-C62E-4DE5-84C6-AAAB8D133DF4}"/>
          </ac:spMkLst>
        </pc:spChg>
      </pc:sldChg>
    </pc:docChg>
  </pc:docChgLst>
  <pc:docChgLst>
    <pc:chgData name="Tarjei Brekke" userId="b7adef12-d377-4333-8abe-995b7476d7a5" providerId="ADAL" clId="{2D11E0AA-764E-416F-98CB-8EE818C4657C}"/>
    <pc:docChg chg="custSel addSld modSld">
      <pc:chgData name="Tarjei Brekke" userId="b7adef12-d377-4333-8abe-995b7476d7a5" providerId="ADAL" clId="{2D11E0AA-764E-416F-98CB-8EE818C4657C}" dt="2022-09-26T12:21:38.101" v="1145" actId="20577"/>
      <pc:docMkLst>
        <pc:docMk/>
      </pc:docMkLst>
      <pc:sldChg chg="addSp modSp mod">
        <pc:chgData name="Tarjei Brekke" userId="b7adef12-d377-4333-8abe-995b7476d7a5" providerId="ADAL" clId="{2D11E0AA-764E-416F-98CB-8EE818C4657C}" dt="2022-09-26T09:19:00.321" v="73" actId="20577"/>
        <pc:sldMkLst>
          <pc:docMk/>
          <pc:sldMk cId="99325339" sldId="257"/>
        </pc:sldMkLst>
        <pc:spChg chg="mod">
          <ac:chgData name="Tarjei Brekke" userId="b7adef12-d377-4333-8abe-995b7476d7a5" providerId="ADAL" clId="{2D11E0AA-764E-416F-98CB-8EE818C4657C}" dt="2022-09-26T09:18:39.567" v="45" actId="1076"/>
          <ac:spMkLst>
            <pc:docMk/>
            <pc:sldMk cId="99325339" sldId="257"/>
            <ac:spMk id="4" creationId="{EA8EE129-EFF0-44E0-867E-445C843302ED}"/>
          </ac:spMkLst>
        </pc:spChg>
        <pc:spChg chg="mod">
          <ac:chgData name="Tarjei Brekke" userId="b7adef12-d377-4333-8abe-995b7476d7a5" providerId="ADAL" clId="{2D11E0AA-764E-416F-98CB-8EE818C4657C}" dt="2022-09-26T09:18:35.773" v="44" actId="1076"/>
          <ac:spMkLst>
            <pc:docMk/>
            <pc:sldMk cId="99325339" sldId="257"/>
            <ac:spMk id="6" creationId="{5AA5B20F-0C17-4F4C-A3D1-94544CBAC54A}"/>
          </ac:spMkLst>
        </pc:spChg>
        <pc:spChg chg="mod">
          <ac:chgData name="Tarjei Brekke" userId="b7adef12-d377-4333-8abe-995b7476d7a5" providerId="ADAL" clId="{2D11E0AA-764E-416F-98CB-8EE818C4657C}" dt="2022-09-26T09:18:20.030" v="43" actId="1076"/>
          <ac:spMkLst>
            <pc:docMk/>
            <pc:sldMk cId="99325339" sldId="257"/>
            <ac:spMk id="8" creationId="{583C23D3-EDA1-47BA-B589-533A389CFF5E}"/>
          </ac:spMkLst>
        </pc:spChg>
        <pc:spChg chg="add mod">
          <ac:chgData name="Tarjei Brekke" userId="b7adef12-d377-4333-8abe-995b7476d7a5" providerId="ADAL" clId="{2D11E0AA-764E-416F-98CB-8EE818C4657C}" dt="2022-09-26T09:19:00.321" v="73" actId="20577"/>
          <ac:spMkLst>
            <pc:docMk/>
            <pc:sldMk cId="99325339" sldId="257"/>
            <ac:spMk id="10" creationId="{A8F3766F-E293-4896-95E3-2706FA3519EF}"/>
          </ac:spMkLst>
        </pc:spChg>
      </pc:sldChg>
      <pc:sldChg chg="modSp">
        <pc:chgData name="Tarjei Brekke" userId="b7adef12-d377-4333-8abe-995b7476d7a5" providerId="ADAL" clId="{2D11E0AA-764E-416F-98CB-8EE818C4657C}" dt="2022-09-20T09:13:03.313" v="29"/>
        <pc:sldMkLst>
          <pc:docMk/>
          <pc:sldMk cId="874032452" sldId="264"/>
        </pc:sldMkLst>
        <pc:graphicFrameChg chg="mod">
          <ac:chgData name="Tarjei Brekke" userId="b7adef12-d377-4333-8abe-995b7476d7a5" providerId="ADAL" clId="{2D11E0AA-764E-416F-98CB-8EE818C4657C}" dt="2022-09-20T09:13:03.313" v="29"/>
          <ac:graphicFrameMkLst>
            <pc:docMk/>
            <pc:sldMk cId="874032452" sldId="264"/>
            <ac:graphicFrameMk id="7" creationId="{B561EECC-216F-40B4-AB83-DD283FA32644}"/>
          </ac:graphicFrameMkLst>
        </pc:graphicFrameChg>
      </pc:sldChg>
      <pc:sldChg chg="modSp mod">
        <pc:chgData name="Tarjei Brekke" userId="b7adef12-d377-4333-8abe-995b7476d7a5" providerId="ADAL" clId="{2D11E0AA-764E-416F-98CB-8EE818C4657C}" dt="2022-09-16T13:32:13.317" v="26"/>
        <pc:sldMkLst>
          <pc:docMk/>
          <pc:sldMk cId="151869653" sldId="265"/>
        </pc:sldMkLst>
        <pc:spChg chg="mod">
          <ac:chgData name="Tarjei Brekke" userId="b7adef12-d377-4333-8abe-995b7476d7a5" providerId="ADAL" clId="{2D11E0AA-764E-416F-98CB-8EE818C4657C}" dt="2022-09-16T13:32:13.317" v="26"/>
          <ac:spMkLst>
            <pc:docMk/>
            <pc:sldMk cId="151869653" sldId="265"/>
            <ac:spMk id="2" creationId="{C53CE54E-2DFF-4B39-BFCE-F61FF6A14B1F}"/>
          </ac:spMkLst>
        </pc:spChg>
      </pc:sldChg>
      <pc:sldChg chg="modSp new mod">
        <pc:chgData name="Tarjei Brekke" userId="b7adef12-d377-4333-8abe-995b7476d7a5" providerId="ADAL" clId="{2D11E0AA-764E-416F-98CB-8EE818C4657C}" dt="2022-09-26T12:21:38.101" v="1145" actId="20577"/>
        <pc:sldMkLst>
          <pc:docMk/>
          <pc:sldMk cId="946816380" sldId="270"/>
        </pc:sldMkLst>
        <pc:spChg chg="mod">
          <ac:chgData name="Tarjei Brekke" userId="b7adef12-d377-4333-8abe-995b7476d7a5" providerId="ADAL" clId="{2D11E0AA-764E-416F-98CB-8EE818C4657C}" dt="2022-09-26T12:21:38.101" v="1145" actId="20577"/>
          <ac:spMkLst>
            <pc:docMk/>
            <pc:sldMk cId="946816380" sldId="270"/>
            <ac:spMk id="2" creationId="{A053AC7A-F04D-4F2E-A5C5-C759E1E64AD8}"/>
          </ac:spMkLst>
        </pc:spChg>
        <pc:spChg chg="mod">
          <ac:chgData name="Tarjei Brekke" userId="b7adef12-d377-4333-8abe-995b7476d7a5" providerId="ADAL" clId="{2D11E0AA-764E-416F-98CB-8EE818C4657C}" dt="2022-09-26T09:19:26.673" v="75" actId="404"/>
          <ac:spMkLst>
            <pc:docMk/>
            <pc:sldMk cId="946816380" sldId="270"/>
            <ac:spMk id="5" creationId="{CEB69117-6CEA-4BDE-AB14-3111AE516353}"/>
          </ac:spMkLst>
        </pc:spChg>
      </pc:sldChg>
    </pc:docChg>
  </pc:docChgLst>
  <pc:docChgLst>
    <pc:chgData name="Tarjei Brekke" userId="S::tarjeibr@uio.no::b7adef12-d377-4333-8abe-995b7476d7a5" providerId="AD" clId="Web-{5E347AC3-0F06-439A-83CA-F000962458E0}"/>
    <pc:docChg chg="modSld">
      <pc:chgData name="Tarjei Brekke" userId="S::tarjeibr@uio.no::b7adef12-d377-4333-8abe-995b7476d7a5" providerId="AD" clId="Web-{5E347AC3-0F06-439A-83CA-F000962458E0}" dt="2022-10-03T07:15:34.462" v="39" actId="20577"/>
      <pc:docMkLst>
        <pc:docMk/>
      </pc:docMkLst>
      <pc:sldChg chg="modSp">
        <pc:chgData name="Tarjei Brekke" userId="S::tarjeibr@uio.no::b7adef12-d377-4333-8abe-995b7476d7a5" providerId="AD" clId="Web-{5E347AC3-0F06-439A-83CA-F000962458E0}" dt="2022-10-03T07:15:34.462" v="39" actId="20577"/>
        <pc:sldMkLst>
          <pc:docMk/>
          <pc:sldMk cId="946816380" sldId="270"/>
        </pc:sldMkLst>
        <pc:spChg chg="mod">
          <ac:chgData name="Tarjei Brekke" userId="S::tarjeibr@uio.no::b7adef12-d377-4333-8abe-995b7476d7a5" providerId="AD" clId="Web-{5E347AC3-0F06-439A-83CA-F000962458E0}" dt="2022-10-03T07:15:34.462" v="39" actId="20577"/>
          <ac:spMkLst>
            <pc:docMk/>
            <pc:sldMk cId="946816380" sldId="270"/>
            <ac:spMk id="2" creationId="{A053AC7A-F04D-4F2E-A5C5-C759E1E64AD8}"/>
          </ac:spMkLst>
        </pc:spChg>
      </pc:sldChg>
    </pc:docChg>
  </pc:docChgLst>
  <pc:docChgLst>
    <pc:chgData name="Tarjei Brekke" userId="S::tarjeibr@uio.no::b7adef12-d377-4333-8abe-995b7476d7a5" providerId="AD" clId="Web-{61FD4D37-4079-43E5-BB13-050574E51494}"/>
    <pc:docChg chg="addSld addMainMaster modMainMaster">
      <pc:chgData name="Tarjei Brekke" userId="S::tarjeibr@uio.no::b7adef12-d377-4333-8abe-995b7476d7a5" providerId="AD" clId="Web-{61FD4D37-4079-43E5-BB13-050574E51494}" dt="2022-10-12T10:27:32.939" v="8"/>
      <pc:docMkLst>
        <pc:docMk/>
      </pc:docMkLst>
      <pc:sldChg chg="add">
        <pc:chgData name="Tarjei Brekke" userId="S::tarjeibr@uio.no::b7adef12-d377-4333-8abe-995b7476d7a5" providerId="AD" clId="Web-{61FD4D37-4079-43E5-BB13-050574E51494}" dt="2022-10-12T10:27:32.251" v="0"/>
        <pc:sldMkLst>
          <pc:docMk/>
          <pc:sldMk cId="1165175550" sldId="271"/>
        </pc:sldMkLst>
      </pc:sldChg>
      <pc:sldChg chg="add">
        <pc:chgData name="Tarjei Brekke" userId="S::tarjeibr@uio.no::b7adef12-d377-4333-8abe-995b7476d7a5" providerId="AD" clId="Web-{61FD4D37-4079-43E5-BB13-050574E51494}" dt="2022-10-12T10:27:32.345" v="1"/>
        <pc:sldMkLst>
          <pc:docMk/>
          <pc:sldMk cId="3137429623" sldId="272"/>
        </pc:sldMkLst>
      </pc:sldChg>
      <pc:sldChg chg="add">
        <pc:chgData name="Tarjei Brekke" userId="S::tarjeibr@uio.no::b7adef12-d377-4333-8abe-995b7476d7a5" providerId="AD" clId="Web-{61FD4D37-4079-43E5-BB13-050574E51494}" dt="2022-10-12T10:27:32.454" v="2"/>
        <pc:sldMkLst>
          <pc:docMk/>
          <pc:sldMk cId="129995440" sldId="273"/>
        </pc:sldMkLst>
      </pc:sldChg>
      <pc:sldChg chg="add">
        <pc:chgData name="Tarjei Brekke" userId="S::tarjeibr@uio.no::b7adef12-d377-4333-8abe-995b7476d7a5" providerId="AD" clId="Web-{61FD4D37-4079-43E5-BB13-050574E51494}" dt="2022-10-12T10:27:32.532" v="3"/>
        <pc:sldMkLst>
          <pc:docMk/>
          <pc:sldMk cId="1745950837" sldId="274"/>
        </pc:sldMkLst>
      </pc:sldChg>
      <pc:sldChg chg="add">
        <pc:chgData name="Tarjei Brekke" userId="S::tarjeibr@uio.no::b7adef12-d377-4333-8abe-995b7476d7a5" providerId="AD" clId="Web-{61FD4D37-4079-43E5-BB13-050574E51494}" dt="2022-10-12T10:27:32.642" v="4"/>
        <pc:sldMkLst>
          <pc:docMk/>
          <pc:sldMk cId="2932155485" sldId="275"/>
        </pc:sldMkLst>
      </pc:sldChg>
      <pc:sldChg chg="add">
        <pc:chgData name="Tarjei Brekke" userId="S::tarjeibr@uio.no::b7adef12-d377-4333-8abe-995b7476d7a5" providerId="AD" clId="Web-{61FD4D37-4079-43E5-BB13-050574E51494}" dt="2022-10-12T10:27:32.767" v="5"/>
        <pc:sldMkLst>
          <pc:docMk/>
          <pc:sldMk cId="2153755801" sldId="276"/>
        </pc:sldMkLst>
      </pc:sldChg>
      <pc:sldChg chg="add">
        <pc:chgData name="Tarjei Brekke" userId="S::tarjeibr@uio.no::b7adef12-d377-4333-8abe-995b7476d7a5" providerId="AD" clId="Web-{61FD4D37-4079-43E5-BB13-050574E51494}" dt="2022-10-12T10:27:32.814" v="6"/>
        <pc:sldMkLst>
          <pc:docMk/>
          <pc:sldMk cId="248806857" sldId="277"/>
        </pc:sldMkLst>
      </pc:sldChg>
      <pc:sldChg chg="add">
        <pc:chgData name="Tarjei Brekke" userId="S::tarjeibr@uio.no::b7adef12-d377-4333-8abe-995b7476d7a5" providerId="AD" clId="Web-{61FD4D37-4079-43E5-BB13-050574E51494}" dt="2022-10-12T10:27:32.876" v="7"/>
        <pc:sldMkLst>
          <pc:docMk/>
          <pc:sldMk cId="675978093" sldId="278"/>
        </pc:sldMkLst>
      </pc:sldChg>
      <pc:sldChg chg="add">
        <pc:chgData name="Tarjei Brekke" userId="S::tarjeibr@uio.no::b7adef12-d377-4333-8abe-995b7476d7a5" providerId="AD" clId="Web-{61FD4D37-4079-43E5-BB13-050574E51494}" dt="2022-10-12T10:27:32.939" v="8"/>
        <pc:sldMkLst>
          <pc:docMk/>
          <pc:sldMk cId="3066424111" sldId="279"/>
        </pc:sldMkLst>
      </pc:sldChg>
      <pc:sldMasterChg chg="modSldLayout">
        <pc:chgData name="Tarjei Brekke" userId="S::tarjeibr@uio.no::b7adef12-d377-4333-8abe-995b7476d7a5" providerId="AD" clId="Web-{61FD4D37-4079-43E5-BB13-050574E51494}" dt="2022-10-12T10:27:32.251" v="0"/>
        <pc:sldMasterMkLst>
          <pc:docMk/>
          <pc:sldMasterMk cId="3392286848" sldId="2147483693"/>
        </pc:sldMasterMkLst>
        <pc:sldLayoutChg chg="replId">
          <pc:chgData name="Tarjei Brekke" userId="S::tarjeibr@uio.no::b7adef12-d377-4333-8abe-995b7476d7a5" providerId="AD" clId="Web-{61FD4D37-4079-43E5-BB13-050574E51494}" dt="2022-10-12T10:27:32.251" v="0"/>
          <pc:sldLayoutMkLst>
            <pc:docMk/>
            <pc:sldMasterMk cId="3392286848" sldId="2147483693"/>
            <pc:sldLayoutMk cId="2569172158" sldId="2147483733"/>
          </pc:sldLayoutMkLst>
        </pc:sldLayoutChg>
        <pc:sldLayoutChg chg="replId">
          <pc:chgData name="Tarjei Brekke" userId="S::tarjeibr@uio.no::b7adef12-d377-4333-8abe-995b7476d7a5" providerId="AD" clId="Web-{61FD4D37-4079-43E5-BB13-050574E51494}" dt="2022-10-12T10:27:32.251" v="0"/>
          <pc:sldLayoutMkLst>
            <pc:docMk/>
            <pc:sldMasterMk cId="3392286848" sldId="2147483693"/>
            <pc:sldLayoutMk cId="2955469279" sldId="2147483734"/>
          </pc:sldLayoutMkLst>
        </pc:sldLayoutChg>
        <pc:sldLayoutChg chg="replId">
          <pc:chgData name="Tarjei Brekke" userId="S::tarjeibr@uio.no::b7adef12-d377-4333-8abe-995b7476d7a5" providerId="AD" clId="Web-{61FD4D37-4079-43E5-BB13-050574E51494}" dt="2022-10-12T10:27:32.251" v="0"/>
          <pc:sldLayoutMkLst>
            <pc:docMk/>
            <pc:sldMasterMk cId="3392286848" sldId="2147483693"/>
            <pc:sldLayoutMk cId="510009894" sldId="2147483735"/>
          </pc:sldLayoutMkLst>
        </pc:sldLayoutChg>
        <pc:sldLayoutChg chg="replId">
          <pc:chgData name="Tarjei Brekke" userId="S::tarjeibr@uio.no::b7adef12-d377-4333-8abe-995b7476d7a5" providerId="AD" clId="Web-{61FD4D37-4079-43E5-BB13-050574E51494}" dt="2022-10-12T10:27:32.251" v="0"/>
          <pc:sldLayoutMkLst>
            <pc:docMk/>
            <pc:sldMasterMk cId="3392286848" sldId="2147483693"/>
            <pc:sldLayoutMk cId="2261247614" sldId="2147483736"/>
          </pc:sldLayoutMkLst>
        </pc:sldLayoutChg>
        <pc:sldLayoutChg chg="replId">
          <pc:chgData name="Tarjei Brekke" userId="S::tarjeibr@uio.no::b7adef12-d377-4333-8abe-995b7476d7a5" providerId="AD" clId="Web-{61FD4D37-4079-43E5-BB13-050574E51494}" dt="2022-10-12T10:27:32.251" v="0"/>
          <pc:sldLayoutMkLst>
            <pc:docMk/>
            <pc:sldMasterMk cId="3392286848" sldId="2147483693"/>
            <pc:sldLayoutMk cId="635028990" sldId="2147483737"/>
          </pc:sldLayoutMkLst>
        </pc:sldLayoutChg>
        <pc:sldLayoutChg chg="replId">
          <pc:chgData name="Tarjei Brekke" userId="S::tarjeibr@uio.no::b7adef12-d377-4333-8abe-995b7476d7a5" providerId="AD" clId="Web-{61FD4D37-4079-43E5-BB13-050574E51494}" dt="2022-10-12T10:27:32.251" v="0"/>
          <pc:sldLayoutMkLst>
            <pc:docMk/>
            <pc:sldMasterMk cId="3392286848" sldId="2147483693"/>
            <pc:sldLayoutMk cId="1491820132" sldId="2147483738"/>
          </pc:sldLayoutMkLst>
        </pc:sldLayoutChg>
        <pc:sldLayoutChg chg="replId">
          <pc:chgData name="Tarjei Brekke" userId="S::tarjeibr@uio.no::b7adef12-d377-4333-8abe-995b7476d7a5" providerId="AD" clId="Web-{61FD4D37-4079-43E5-BB13-050574E51494}" dt="2022-10-12T10:27:32.251" v="0"/>
          <pc:sldLayoutMkLst>
            <pc:docMk/>
            <pc:sldMasterMk cId="3392286848" sldId="2147483693"/>
            <pc:sldLayoutMk cId="1936681373" sldId="2147483739"/>
          </pc:sldLayoutMkLst>
        </pc:sldLayoutChg>
        <pc:sldLayoutChg chg="replId">
          <pc:chgData name="Tarjei Brekke" userId="S::tarjeibr@uio.no::b7adef12-d377-4333-8abe-995b7476d7a5" providerId="AD" clId="Web-{61FD4D37-4079-43E5-BB13-050574E51494}" dt="2022-10-12T10:27:32.251" v="0"/>
          <pc:sldLayoutMkLst>
            <pc:docMk/>
            <pc:sldMasterMk cId="3392286848" sldId="2147483693"/>
            <pc:sldLayoutMk cId="3276058135" sldId="2147483740"/>
          </pc:sldLayoutMkLst>
        </pc:sldLayoutChg>
        <pc:sldLayoutChg chg="replId">
          <pc:chgData name="Tarjei Brekke" userId="S::tarjeibr@uio.no::b7adef12-d377-4333-8abe-995b7476d7a5" providerId="AD" clId="Web-{61FD4D37-4079-43E5-BB13-050574E51494}" dt="2022-10-12T10:27:32.251" v="0"/>
          <pc:sldLayoutMkLst>
            <pc:docMk/>
            <pc:sldMasterMk cId="3392286848" sldId="2147483693"/>
            <pc:sldLayoutMk cId="3024930277" sldId="2147483741"/>
          </pc:sldLayoutMkLst>
        </pc:sldLayoutChg>
      </pc:sldMasterChg>
      <pc:sldMasterChg chg="add addSldLayout">
        <pc:chgData name="Tarjei Brekke" userId="S::tarjeibr@uio.no::b7adef12-d377-4333-8abe-995b7476d7a5" providerId="AD" clId="Web-{61FD4D37-4079-43E5-BB13-050574E51494}" dt="2022-10-12T10:27:32.251" v="0"/>
        <pc:sldMasterMkLst>
          <pc:docMk/>
          <pc:sldMasterMk cId="133689992" sldId="2147483721"/>
        </pc:sldMasterMkLst>
        <pc:sldLayoutChg chg="add">
          <pc:chgData name="Tarjei Brekke" userId="S::tarjeibr@uio.no::b7adef12-d377-4333-8abe-995b7476d7a5" providerId="AD" clId="Web-{61FD4D37-4079-43E5-BB13-050574E51494}" dt="2022-10-12T10:27:32.251" v="0"/>
          <pc:sldLayoutMkLst>
            <pc:docMk/>
            <pc:sldMasterMk cId="133689992" sldId="2147483721"/>
            <pc:sldLayoutMk cId="3161152056" sldId="2147483722"/>
          </pc:sldLayoutMkLst>
        </pc:sldLayoutChg>
        <pc:sldLayoutChg chg="add">
          <pc:chgData name="Tarjei Brekke" userId="S::tarjeibr@uio.no::b7adef12-d377-4333-8abe-995b7476d7a5" providerId="AD" clId="Web-{61FD4D37-4079-43E5-BB13-050574E51494}" dt="2022-10-12T10:27:32.251" v="0"/>
          <pc:sldLayoutMkLst>
            <pc:docMk/>
            <pc:sldMasterMk cId="133689992" sldId="2147483721"/>
            <pc:sldLayoutMk cId="2160822946" sldId="2147483723"/>
          </pc:sldLayoutMkLst>
        </pc:sldLayoutChg>
        <pc:sldLayoutChg chg="add">
          <pc:chgData name="Tarjei Brekke" userId="S::tarjeibr@uio.no::b7adef12-d377-4333-8abe-995b7476d7a5" providerId="AD" clId="Web-{61FD4D37-4079-43E5-BB13-050574E51494}" dt="2022-10-12T10:27:32.251" v="0"/>
          <pc:sldLayoutMkLst>
            <pc:docMk/>
            <pc:sldMasterMk cId="133689992" sldId="2147483721"/>
            <pc:sldLayoutMk cId="837285432" sldId="2147483724"/>
          </pc:sldLayoutMkLst>
        </pc:sldLayoutChg>
        <pc:sldLayoutChg chg="add">
          <pc:chgData name="Tarjei Brekke" userId="S::tarjeibr@uio.no::b7adef12-d377-4333-8abe-995b7476d7a5" providerId="AD" clId="Web-{61FD4D37-4079-43E5-BB13-050574E51494}" dt="2022-10-12T10:27:32.251" v="0"/>
          <pc:sldLayoutMkLst>
            <pc:docMk/>
            <pc:sldMasterMk cId="133689992" sldId="2147483721"/>
            <pc:sldLayoutMk cId="1901373158" sldId="2147483725"/>
          </pc:sldLayoutMkLst>
        </pc:sldLayoutChg>
        <pc:sldLayoutChg chg="add">
          <pc:chgData name="Tarjei Brekke" userId="S::tarjeibr@uio.no::b7adef12-d377-4333-8abe-995b7476d7a5" providerId="AD" clId="Web-{61FD4D37-4079-43E5-BB13-050574E51494}" dt="2022-10-12T10:27:32.251" v="0"/>
          <pc:sldLayoutMkLst>
            <pc:docMk/>
            <pc:sldMasterMk cId="133689992" sldId="2147483721"/>
            <pc:sldLayoutMk cId="1297397818" sldId="2147483726"/>
          </pc:sldLayoutMkLst>
        </pc:sldLayoutChg>
        <pc:sldLayoutChg chg="add">
          <pc:chgData name="Tarjei Brekke" userId="S::tarjeibr@uio.no::b7adef12-d377-4333-8abe-995b7476d7a5" providerId="AD" clId="Web-{61FD4D37-4079-43E5-BB13-050574E51494}" dt="2022-10-12T10:27:32.251" v="0"/>
          <pc:sldLayoutMkLst>
            <pc:docMk/>
            <pc:sldMasterMk cId="133689992" sldId="2147483721"/>
            <pc:sldLayoutMk cId="537164037" sldId="2147483727"/>
          </pc:sldLayoutMkLst>
        </pc:sldLayoutChg>
        <pc:sldLayoutChg chg="add">
          <pc:chgData name="Tarjei Brekke" userId="S::tarjeibr@uio.no::b7adef12-d377-4333-8abe-995b7476d7a5" providerId="AD" clId="Web-{61FD4D37-4079-43E5-BB13-050574E51494}" dt="2022-10-12T10:27:32.251" v="0"/>
          <pc:sldLayoutMkLst>
            <pc:docMk/>
            <pc:sldMasterMk cId="133689992" sldId="2147483721"/>
            <pc:sldLayoutMk cId="210826264" sldId="2147483728"/>
          </pc:sldLayoutMkLst>
        </pc:sldLayoutChg>
        <pc:sldLayoutChg chg="add">
          <pc:chgData name="Tarjei Brekke" userId="S::tarjeibr@uio.no::b7adef12-d377-4333-8abe-995b7476d7a5" providerId="AD" clId="Web-{61FD4D37-4079-43E5-BB13-050574E51494}" dt="2022-10-12T10:27:32.251" v="0"/>
          <pc:sldLayoutMkLst>
            <pc:docMk/>
            <pc:sldMasterMk cId="133689992" sldId="2147483721"/>
            <pc:sldLayoutMk cId="1063831605" sldId="2147483729"/>
          </pc:sldLayoutMkLst>
        </pc:sldLayoutChg>
        <pc:sldLayoutChg chg="add">
          <pc:chgData name="Tarjei Brekke" userId="S::tarjeibr@uio.no::b7adef12-d377-4333-8abe-995b7476d7a5" providerId="AD" clId="Web-{61FD4D37-4079-43E5-BB13-050574E51494}" dt="2022-10-12T10:27:32.251" v="0"/>
          <pc:sldLayoutMkLst>
            <pc:docMk/>
            <pc:sldMasterMk cId="133689992" sldId="2147483721"/>
            <pc:sldLayoutMk cId="1802949422" sldId="2147483730"/>
          </pc:sldLayoutMkLst>
        </pc:sldLayoutChg>
        <pc:sldLayoutChg chg="add">
          <pc:chgData name="Tarjei Brekke" userId="S::tarjeibr@uio.no::b7adef12-d377-4333-8abe-995b7476d7a5" providerId="AD" clId="Web-{61FD4D37-4079-43E5-BB13-050574E51494}" dt="2022-10-12T10:27:32.251" v="0"/>
          <pc:sldLayoutMkLst>
            <pc:docMk/>
            <pc:sldMasterMk cId="133689992" sldId="2147483721"/>
            <pc:sldLayoutMk cId="2023056875" sldId="2147483731"/>
          </pc:sldLayoutMkLst>
        </pc:sldLayoutChg>
        <pc:sldLayoutChg chg="add">
          <pc:chgData name="Tarjei Brekke" userId="S::tarjeibr@uio.no::b7adef12-d377-4333-8abe-995b7476d7a5" providerId="AD" clId="Web-{61FD4D37-4079-43E5-BB13-050574E51494}" dt="2022-10-12T10:27:32.251" v="0"/>
          <pc:sldLayoutMkLst>
            <pc:docMk/>
            <pc:sldMasterMk cId="133689992" sldId="2147483721"/>
            <pc:sldLayoutMk cId="2356933721" sldId="2147483732"/>
          </pc:sldLayoutMkLst>
        </pc:sldLayoutChg>
      </pc:sldMasterChg>
    </pc:docChg>
  </pc:docChgLst>
  <pc:docChgLst>
    <pc:chgData name="Tarjei Brekke" userId="S::tarjeibr@uio.no::b7adef12-d377-4333-8abe-995b7476d7a5" providerId="AD" clId="Web-{8C4CBB63-138B-49D2-8361-AB7F0B1F6AD0}"/>
    <pc:docChg chg="modSld">
      <pc:chgData name="Tarjei Brekke" userId="S::tarjeibr@uio.no::b7adef12-d377-4333-8abe-995b7476d7a5" providerId="AD" clId="Web-{8C4CBB63-138B-49D2-8361-AB7F0B1F6AD0}" dt="2022-09-06T08:01:06.102" v="347" actId="20577"/>
      <pc:docMkLst>
        <pc:docMk/>
      </pc:docMkLst>
      <pc:sldChg chg="modSp">
        <pc:chgData name="Tarjei Brekke" userId="S::tarjeibr@uio.no::b7adef12-d377-4333-8abe-995b7476d7a5" providerId="AD" clId="Web-{8C4CBB63-138B-49D2-8361-AB7F0B1F6AD0}" dt="2022-09-06T07:23:39.845" v="45" actId="20577"/>
        <pc:sldMkLst>
          <pc:docMk/>
          <pc:sldMk cId="2824128163" sldId="258"/>
        </pc:sldMkLst>
        <pc:spChg chg="mod">
          <ac:chgData name="Tarjei Brekke" userId="S::tarjeibr@uio.no::b7adef12-d377-4333-8abe-995b7476d7a5" providerId="AD" clId="Web-{8C4CBB63-138B-49D2-8361-AB7F0B1F6AD0}" dt="2022-09-06T07:23:39.845" v="45" actId="20577"/>
          <ac:spMkLst>
            <pc:docMk/>
            <pc:sldMk cId="2824128163" sldId="258"/>
            <ac:spMk id="2" creationId="{5D64EC73-9AB4-48A3-AA6B-7EE12DCC1C06}"/>
          </ac:spMkLst>
        </pc:spChg>
      </pc:sldChg>
      <pc:sldChg chg="modSp">
        <pc:chgData name="Tarjei Brekke" userId="S::tarjeibr@uio.no::b7adef12-d377-4333-8abe-995b7476d7a5" providerId="AD" clId="Web-{8C4CBB63-138B-49D2-8361-AB7F0B1F6AD0}" dt="2022-09-06T07:26:02.551" v="80" actId="20577"/>
        <pc:sldMkLst>
          <pc:docMk/>
          <pc:sldMk cId="1109073918" sldId="262"/>
        </pc:sldMkLst>
        <pc:spChg chg="mod">
          <ac:chgData name="Tarjei Brekke" userId="S::tarjeibr@uio.no::b7adef12-d377-4333-8abe-995b7476d7a5" providerId="AD" clId="Web-{8C4CBB63-138B-49D2-8361-AB7F0B1F6AD0}" dt="2022-09-06T07:26:02.551" v="80" actId="20577"/>
          <ac:spMkLst>
            <pc:docMk/>
            <pc:sldMk cId="1109073918" sldId="262"/>
            <ac:spMk id="2" creationId="{73C47AB5-B064-4D4E-9162-F0E9659189CE}"/>
          </ac:spMkLst>
        </pc:spChg>
      </pc:sldChg>
      <pc:sldChg chg="modSp">
        <pc:chgData name="Tarjei Brekke" userId="S::tarjeibr@uio.no::b7adef12-d377-4333-8abe-995b7476d7a5" providerId="AD" clId="Web-{8C4CBB63-138B-49D2-8361-AB7F0B1F6AD0}" dt="2022-09-06T07:42:33.114" v="237" actId="20577"/>
        <pc:sldMkLst>
          <pc:docMk/>
          <pc:sldMk cId="877781895" sldId="263"/>
        </pc:sldMkLst>
        <pc:spChg chg="mod">
          <ac:chgData name="Tarjei Brekke" userId="S::tarjeibr@uio.no::b7adef12-d377-4333-8abe-995b7476d7a5" providerId="AD" clId="Web-{8C4CBB63-138B-49D2-8361-AB7F0B1F6AD0}" dt="2022-09-06T07:42:33.114" v="237" actId="20577"/>
          <ac:spMkLst>
            <pc:docMk/>
            <pc:sldMk cId="877781895" sldId="263"/>
            <ac:spMk id="2" creationId="{B4323BF8-9BEF-4CA8-B992-FDEA7158BEA0}"/>
          </ac:spMkLst>
        </pc:spChg>
      </pc:sldChg>
      <pc:sldChg chg="modSp">
        <pc:chgData name="Tarjei Brekke" userId="S::tarjeibr@uio.no::b7adef12-d377-4333-8abe-995b7476d7a5" providerId="AD" clId="Web-{8C4CBB63-138B-49D2-8361-AB7F0B1F6AD0}" dt="2022-09-06T07:29:15.054" v="119" actId="20577"/>
        <pc:sldMkLst>
          <pc:docMk/>
          <pc:sldMk cId="874032452" sldId="264"/>
        </pc:sldMkLst>
        <pc:spChg chg="mod">
          <ac:chgData name="Tarjei Brekke" userId="S::tarjeibr@uio.no::b7adef12-d377-4333-8abe-995b7476d7a5" providerId="AD" clId="Web-{8C4CBB63-138B-49D2-8361-AB7F0B1F6AD0}" dt="2022-09-06T07:29:15.054" v="119" actId="20577"/>
          <ac:spMkLst>
            <pc:docMk/>
            <pc:sldMk cId="874032452" sldId="264"/>
            <ac:spMk id="2" creationId="{7BDFAA39-01C2-4A7B-9B47-D4F6FCE445D2}"/>
          </ac:spMkLst>
        </pc:spChg>
      </pc:sldChg>
      <pc:sldChg chg="modSp">
        <pc:chgData name="Tarjei Brekke" userId="S::tarjeibr@uio.no::b7adef12-d377-4333-8abe-995b7476d7a5" providerId="AD" clId="Web-{8C4CBB63-138B-49D2-8361-AB7F0B1F6AD0}" dt="2022-09-06T08:01:06.102" v="347" actId="20577"/>
        <pc:sldMkLst>
          <pc:docMk/>
          <pc:sldMk cId="151869653" sldId="265"/>
        </pc:sldMkLst>
        <pc:spChg chg="mod">
          <ac:chgData name="Tarjei Brekke" userId="S::tarjeibr@uio.no::b7adef12-d377-4333-8abe-995b7476d7a5" providerId="AD" clId="Web-{8C4CBB63-138B-49D2-8361-AB7F0B1F6AD0}" dt="2022-09-06T08:01:06.102" v="347" actId="20577"/>
          <ac:spMkLst>
            <pc:docMk/>
            <pc:sldMk cId="151869653" sldId="265"/>
            <ac:spMk id="2" creationId="{C53CE54E-2DFF-4B39-BFCE-F61FF6A14B1F}"/>
          </ac:spMkLst>
        </pc:spChg>
      </pc:sldChg>
      <pc:sldChg chg="modSp">
        <pc:chgData name="Tarjei Brekke" userId="S::tarjeibr@uio.no::b7adef12-d377-4333-8abe-995b7476d7a5" providerId="AD" clId="Web-{8C4CBB63-138B-49D2-8361-AB7F0B1F6AD0}" dt="2022-09-06T07:58:20.928" v="252" actId="20577"/>
        <pc:sldMkLst>
          <pc:docMk/>
          <pc:sldMk cId="3732191344" sldId="266"/>
        </pc:sldMkLst>
        <pc:spChg chg="mod">
          <ac:chgData name="Tarjei Brekke" userId="S::tarjeibr@uio.no::b7adef12-d377-4333-8abe-995b7476d7a5" providerId="AD" clId="Web-{8C4CBB63-138B-49D2-8361-AB7F0B1F6AD0}" dt="2022-09-06T07:58:20.928" v="252" actId="20577"/>
          <ac:spMkLst>
            <pc:docMk/>
            <pc:sldMk cId="3732191344" sldId="266"/>
            <ac:spMk id="2" creationId="{938ED88D-C62E-4DE5-84C6-AAAB8D133DF4}"/>
          </ac:spMkLst>
        </pc:spChg>
      </pc:sldChg>
    </pc:docChg>
  </pc:docChgLst>
  <pc:docChgLst>
    <pc:chgData name="Tarjei Brekke" userId="b7adef12-d377-4333-8abe-995b7476d7a5" providerId="ADAL" clId="{3C96DE61-27E4-40BC-82BA-B09BCEC6C6A0}"/>
    <pc:docChg chg="undo custSel addSld delSld modSld">
      <pc:chgData name="Tarjei Brekke" userId="b7adef12-d377-4333-8abe-995b7476d7a5" providerId="ADAL" clId="{3C96DE61-27E4-40BC-82BA-B09BCEC6C6A0}" dt="2022-08-29T11:47:52.274" v="7864" actId="255"/>
      <pc:docMkLst>
        <pc:docMk/>
      </pc:docMkLst>
      <pc:sldChg chg="modSp mod">
        <pc:chgData name="Tarjei Brekke" userId="b7adef12-d377-4333-8abe-995b7476d7a5" providerId="ADAL" clId="{3C96DE61-27E4-40BC-82BA-B09BCEC6C6A0}" dt="2022-08-23T06:59:43.286" v="5422" actId="20577"/>
        <pc:sldMkLst>
          <pc:docMk/>
          <pc:sldMk cId="3160902371" sldId="256"/>
        </pc:sldMkLst>
        <pc:spChg chg="mod">
          <ac:chgData name="Tarjei Brekke" userId="b7adef12-d377-4333-8abe-995b7476d7a5" providerId="ADAL" clId="{3C96DE61-27E4-40BC-82BA-B09BCEC6C6A0}" dt="2022-08-23T06:59:43.286" v="5422" actId="20577"/>
          <ac:spMkLst>
            <pc:docMk/>
            <pc:sldMk cId="3160902371" sldId="256"/>
            <ac:spMk id="5" creationId="{69DBDD1D-5342-4062-B517-B3AF4EE23643}"/>
          </ac:spMkLst>
        </pc:spChg>
      </pc:sldChg>
      <pc:sldChg chg="modSp mod">
        <pc:chgData name="Tarjei Brekke" userId="b7adef12-d377-4333-8abe-995b7476d7a5" providerId="ADAL" clId="{3C96DE61-27E4-40BC-82BA-B09BCEC6C6A0}" dt="2022-08-22T12:51:05.888" v="5372" actId="3626"/>
        <pc:sldMkLst>
          <pc:docMk/>
          <pc:sldMk cId="99325339" sldId="257"/>
        </pc:sldMkLst>
        <pc:spChg chg="mod">
          <ac:chgData name="Tarjei Brekke" userId="b7adef12-d377-4333-8abe-995b7476d7a5" providerId="ADAL" clId="{3C96DE61-27E4-40BC-82BA-B09BCEC6C6A0}" dt="2022-08-22T11:20:45.875" v="3179" actId="20577"/>
          <ac:spMkLst>
            <pc:docMk/>
            <pc:sldMk cId="99325339" sldId="257"/>
            <ac:spMk id="3" creationId="{61CF6F82-04E1-4B46-B708-BF70B5B05CC1}"/>
          </ac:spMkLst>
        </pc:spChg>
        <pc:spChg chg="mod">
          <ac:chgData name="Tarjei Brekke" userId="b7adef12-d377-4333-8abe-995b7476d7a5" providerId="ADAL" clId="{3C96DE61-27E4-40BC-82BA-B09BCEC6C6A0}" dt="2022-08-22T12:51:05.888" v="5372" actId="3626"/>
          <ac:spMkLst>
            <pc:docMk/>
            <pc:sldMk cId="99325339" sldId="257"/>
            <ac:spMk id="5" creationId="{418C4DE4-970F-406B-ADDB-811B357BFF0A}"/>
          </ac:spMkLst>
        </pc:spChg>
        <pc:spChg chg="mod">
          <ac:chgData name="Tarjei Brekke" userId="b7adef12-d377-4333-8abe-995b7476d7a5" providerId="ADAL" clId="{3C96DE61-27E4-40BC-82BA-B09BCEC6C6A0}" dt="2022-08-22T09:50:38.407" v="169" actId="1076"/>
          <ac:spMkLst>
            <pc:docMk/>
            <pc:sldMk cId="99325339" sldId="257"/>
            <ac:spMk id="6" creationId="{5AA5B20F-0C17-4F4C-A3D1-94544CBAC54A}"/>
          </ac:spMkLst>
        </pc:spChg>
      </pc:sldChg>
      <pc:sldChg chg="modSp mod">
        <pc:chgData name="Tarjei Brekke" userId="b7adef12-d377-4333-8abe-995b7476d7a5" providerId="ADAL" clId="{3C96DE61-27E4-40BC-82BA-B09BCEC6C6A0}" dt="2022-08-26T13:24:25.482" v="7607" actId="20577"/>
        <pc:sldMkLst>
          <pc:docMk/>
          <pc:sldMk cId="2824128163" sldId="258"/>
        </pc:sldMkLst>
        <pc:spChg chg="mod">
          <ac:chgData name="Tarjei Brekke" userId="b7adef12-d377-4333-8abe-995b7476d7a5" providerId="ADAL" clId="{3C96DE61-27E4-40BC-82BA-B09BCEC6C6A0}" dt="2022-08-26T13:24:25.482" v="7607" actId="20577"/>
          <ac:spMkLst>
            <pc:docMk/>
            <pc:sldMk cId="2824128163" sldId="258"/>
            <ac:spMk id="2" creationId="{5D64EC73-9AB4-48A3-AA6B-7EE12DCC1C06}"/>
          </ac:spMkLst>
        </pc:spChg>
        <pc:spChg chg="mod">
          <ac:chgData name="Tarjei Brekke" userId="b7adef12-d377-4333-8abe-995b7476d7a5" providerId="ADAL" clId="{3C96DE61-27E4-40BC-82BA-B09BCEC6C6A0}" dt="2022-08-22T11:20:52.733" v="3196" actId="20577"/>
          <ac:spMkLst>
            <pc:docMk/>
            <pc:sldMk cId="2824128163" sldId="258"/>
            <ac:spMk id="5" creationId="{74FAFBB9-0562-4239-ACC6-3F1591F07F9E}"/>
          </ac:spMkLst>
        </pc:spChg>
      </pc:sldChg>
      <pc:sldChg chg="del">
        <pc:chgData name="Tarjei Brekke" userId="b7adef12-d377-4333-8abe-995b7476d7a5" providerId="ADAL" clId="{3C96DE61-27E4-40BC-82BA-B09BCEC6C6A0}" dt="2022-08-22T09:38:39.346" v="0" actId="47"/>
        <pc:sldMkLst>
          <pc:docMk/>
          <pc:sldMk cId="632058028" sldId="260"/>
        </pc:sldMkLst>
      </pc:sldChg>
      <pc:sldChg chg="modSp mod">
        <pc:chgData name="Tarjei Brekke" userId="b7adef12-d377-4333-8abe-995b7476d7a5" providerId="ADAL" clId="{3C96DE61-27E4-40BC-82BA-B09BCEC6C6A0}" dt="2022-08-23T13:31:46.188" v="7503" actId="404"/>
        <pc:sldMkLst>
          <pc:docMk/>
          <pc:sldMk cId="1109073918" sldId="262"/>
        </pc:sldMkLst>
        <pc:spChg chg="mod">
          <ac:chgData name="Tarjei Brekke" userId="b7adef12-d377-4333-8abe-995b7476d7a5" providerId="ADAL" clId="{3C96DE61-27E4-40BC-82BA-B09BCEC6C6A0}" dt="2022-08-23T13:31:46.188" v="7503" actId="404"/>
          <ac:spMkLst>
            <pc:docMk/>
            <pc:sldMk cId="1109073918" sldId="262"/>
            <ac:spMk id="2" creationId="{73C47AB5-B064-4D4E-9162-F0E9659189CE}"/>
          </ac:spMkLst>
        </pc:spChg>
        <pc:spChg chg="mod">
          <ac:chgData name="Tarjei Brekke" userId="b7adef12-d377-4333-8abe-995b7476d7a5" providerId="ADAL" clId="{3C96DE61-27E4-40BC-82BA-B09BCEC6C6A0}" dt="2022-08-22T09:57:40.302" v="280" actId="404"/>
          <ac:spMkLst>
            <pc:docMk/>
            <pc:sldMk cId="1109073918" sldId="262"/>
            <ac:spMk id="5" creationId="{5D606793-278F-4C42-8B80-A2FAD83E6205}"/>
          </ac:spMkLst>
        </pc:spChg>
      </pc:sldChg>
      <pc:sldChg chg="modSp mod">
        <pc:chgData name="Tarjei Brekke" userId="b7adef12-d377-4333-8abe-995b7476d7a5" providerId="ADAL" clId="{3C96DE61-27E4-40BC-82BA-B09BCEC6C6A0}" dt="2022-08-29T11:47:52.274" v="7864" actId="255"/>
        <pc:sldMkLst>
          <pc:docMk/>
          <pc:sldMk cId="877781895" sldId="263"/>
        </pc:sldMkLst>
        <pc:spChg chg="mod">
          <ac:chgData name="Tarjei Brekke" userId="b7adef12-d377-4333-8abe-995b7476d7a5" providerId="ADAL" clId="{3C96DE61-27E4-40BC-82BA-B09BCEC6C6A0}" dt="2022-08-29T11:47:52.274" v="7864" actId="255"/>
          <ac:spMkLst>
            <pc:docMk/>
            <pc:sldMk cId="877781895" sldId="263"/>
            <ac:spMk id="2" creationId="{B4323BF8-9BEF-4CA8-B992-FDEA7158BEA0}"/>
          </ac:spMkLst>
        </pc:spChg>
        <pc:spChg chg="mod">
          <ac:chgData name="Tarjei Brekke" userId="b7adef12-d377-4333-8abe-995b7476d7a5" providerId="ADAL" clId="{3C96DE61-27E4-40BC-82BA-B09BCEC6C6A0}" dt="2022-08-22T09:38:52.799" v="4" actId="20577"/>
          <ac:spMkLst>
            <pc:docMk/>
            <pc:sldMk cId="877781895" sldId="263"/>
            <ac:spMk id="5" creationId="{3B295E55-C19F-41D9-B186-6D64E9F1A20F}"/>
          </ac:spMkLst>
        </pc:spChg>
      </pc:sldChg>
      <pc:sldChg chg="modSp mod">
        <pc:chgData name="Tarjei Brekke" userId="b7adef12-d377-4333-8abe-995b7476d7a5" providerId="ADAL" clId="{3C96DE61-27E4-40BC-82BA-B09BCEC6C6A0}" dt="2022-08-26T13:18:02.235" v="7523" actId="404"/>
        <pc:sldMkLst>
          <pc:docMk/>
          <pc:sldMk cId="874032452" sldId="264"/>
        </pc:sldMkLst>
        <pc:spChg chg="mod">
          <ac:chgData name="Tarjei Brekke" userId="b7adef12-d377-4333-8abe-995b7476d7a5" providerId="ADAL" clId="{3C96DE61-27E4-40BC-82BA-B09BCEC6C6A0}" dt="2022-08-26T13:18:02.235" v="7523" actId="404"/>
          <ac:spMkLst>
            <pc:docMk/>
            <pc:sldMk cId="874032452" sldId="264"/>
            <ac:spMk id="2" creationId="{7BDFAA39-01C2-4A7B-9B47-D4F6FCE445D2}"/>
          </ac:spMkLst>
        </pc:spChg>
        <pc:graphicFrameChg chg="mod">
          <ac:chgData name="Tarjei Brekke" userId="b7adef12-d377-4333-8abe-995b7476d7a5" providerId="ADAL" clId="{3C96DE61-27E4-40BC-82BA-B09BCEC6C6A0}" dt="2022-08-26T13:15:56.839" v="7504"/>
          <ac:graphicFrameMkLst>
            <pc:docMk/>
            <pc:sldMk cId="874032452" sldId="264"/>
            <ac:graphicFrameMk id="8" creationId="{41D1C76F-8F1E-4767-BB18-F73C0FCDB5E9}"/>
          </ac:graphicFrameMkLst>
        </pc:graphicFrameChg>
      </pc:sldChg>
      <pc:sldChg chg="modSp new mod">
        <pc:chgData name="Tarjei Brekke" userId="b7adef12-d377-4333-8abe-995b7476d7a5" providerId="ADAL" clId="{3C96DE61-27E4-40BC-82BA-B09BCEC6C6A0}" dt="2022-08-22T10:27:27.158" v="301" actId="20577"/>
        <pc:sldMkLst>
          <pc:docMk/>
          <pc:sldMk cId="151869653" sldId="265"/>
        </pc:sldMkLst>
        <pc:spChg chg="mod">
          <ac:chgData name="Tarjei Brekke" userId="b7adef12-d377-4333-8abe-995b7476d7a5" providerId="ADAL" clId="{3C96DE61-27E4-40BC-82BA-B09BCEC6C6A0}" dt="2022-08-22T10:27:27.158" v="301" actId="20577"/>
          <ac:spMkLst>
            <pc:docMk/>
            <pc:sldMk cId="151869653" sldId="265"/>
            <ac:spMk id="2" creationId="{C53CE54E-2DFF-4B39-BFCE-F61FF6A14B1F}"/>
          </ac:spMkLst>
        </pc:spChg>
        <pc:spChg chg="mod">
          <ac:chgData name="Tarjei Brekke" userId="b7adef12-d377-4333-8abe-995b7476d7a5" providerId="ADAL" clId="{3C96DE61-27E4-40BC-82BA-B09BCEC6C6A0}" dt="2022-08-22T09:57:07.790" v="277" actId="404"/>
          <ac:spMkLst>
            <pc:docMk/>
            <pc:sldMk cId="151869653" sldId="265"/>
            <ac:spMk id="5" creationId="{A819FD2A-908D-4209-A11A-2783E94F4CFE}"/>
          </ac:spMkLst>
        </pc:spChg>
      </pc:sldChg>
      <pc:sldChg chg="addSp modSp new mod">
        <pc:chgData name="Tarjei Brekke" userId="b7adef12-d377-4333-8abe-995b7476d7a5" providerId="ADAL" clId="{3C96DE61-27E4-40BC-82BA-B09BCEC6C6A0}" dt="2022-08-22T11:13:01.123" v="2762" actId="20577"/>
        <pc:sldMkLst>
          <pc:docMk/>
          <pc:sldMk cId="3732191344" sldId="266"/>
        </pc:sldMkLst>
        <pc:spChg chg="mod">
          <ac:chgData name="Tarjei Brekke" userId="b7adef12-d377-4333-8abe-995b7476d7a5" providerId="ADAL" clId="{3C96DE61-27E4-40BC-82BA-B09BCEC6C6A0}" dt="2022-08-22T11:13:01.123" v="2762" actId="20577"/>
          <ac:spMkLst>
            <pc:docMk/>
            <pc:sldMk cId="3732191344" sldId="266"/>
            <ac:spMk id="2" creationId="{938ED88D-C62E-4DE5-84C6-AAAB8D133DF4}"/>
          </ac:spMkLst>
        </pc:spChg>
        <pc:spChg chg="mod">
          <ac:chgData name="Tarjei Brekke" userId="b7adef12-d377-4333-8abe-995b7476d7a5" providerId="ADAL" clId="{3C96DE61-27E4-40BC-82BA-B09BCEC6C6A0}" dt="2022-08-22T09:57:14.686" v="278" actId="404"/>
          <ac:spMkLst>
            <pc:docMk/>
            <pc:sldMk cId="3732191344" sldId="266"/>
            <ac:spMk id="5" creationId="{7EC1096E-4E9D-44D8-8F36-9B82F330A9FE}"/>
          </ac:spMkLst>
        </pc:spChg>
        <pc:spChg chg="add mod">
          <ac:chgData name="Tarjei Brekke" userId="b7adef12-d377-4333-8abe-995b7476d7a5" providerId="ADAL" clId="{3C96DE61-27E4-40BC-82BA-B09BCEC6C6A0}" dt="2022-08-22T10:48:37.106" v="1405" actId="1076"/>
          <ac:spMkLst>
            <pc:docMk/>
            <pc:sldMk cId="3732191344" sldId="266"/>
            <ac:spMk id="7" creationId="{3CF78689-CC2B-4FB9-B205-58FF2B4B43AC}"/>
          </ac:spMkLst>
        </pc:spChg>
        <pc:graphicFrameChg chg="add mod">
          <ac:chgData name="Tarjei Brekke" userId="b7adef12-d377-4333-8abe-995b7476d7a5" providerId="ADAL" clId="{3C96DE61-27E4-40BC-82BA-B09BCEC6C6A0}" dt="2022-08-22T10:48:32.937" v="1404" actId="1076"/>
          <ac:graphicFrameMkLst>
            <pc:docMk/>
            <pc:sldMk cId="3732191344" sldId="266"/>
            <ac:graphicFrameMk id="6" creationId="{0F20354D-F7D2-4892-81C7-D1DB89FD89D2}"/>
          </ac:graphicFrameMkLst>
        </pc:graphicFrameChg>
      </pc:sldChg>
      <pc:sldChg chg="modSp new mod">
        <pc:chgData name="Tarjei Brekke" userId="b7adef12-d377-4333-8abe-995b7476d7a5" providerId="ADAL" clId="{3C96DE61-27E4-40BC-82BA-B09BCEC6C6A0}" dt="2022-08-22T12:38:45.292" v="5199" actId="20577"/>
        <pc:sldMkLst>
          <pc:docMk/>
          <pc:sldMk cId="534188105" sldId="267"/>
        </pc:sldMkLst>
        <pc:spChg chg="mod">
          <ac:chgData name="Tarjei Brekke" userId="b7adef12-d377-4333-8abe-995b7476d7a5" providerId="ADAL" clId="{3C96DE61-27E4-40BC-82BA-B09BCEC6C6A0}" dt="2022-08-22T12:38:45.292" v="5199" actId="20577"/>
          <ac:spMkLst>
            <pc:docMk/>
            <pc:sldMk cId="534188105" sldId="267"/>
            <ac:spMk id="2" creationId="{EA671F56-647A-48F8-BFB2-821D4E110E9E}"/>
          </ac:spMkLst>
        </pc:spChg>
        <pc:spChg chg="mod">
          <ac:chgData name="Tarjei Brekke" userId="b7adef12-d377-4333-8abe-995b7476d7a5" providerId="ADAL" clId="{3C96DE61-27E4-40BC-82BA-B09BCEC6C6A0}" dt="2022-08-22T10:56:36.983" v="1619" actId="20577"/>
          <ac:spMkLst>
            <pc:docMk/>
            <pc:sldMk cId="534188105" sldId="267"/>
            <ac:spMk id="5" creationId="{434220C3-5C21-48A1-92F8-3B8DA4B18E8F}"/>
          </ac:spMkLst>
        </pc:spChg>
      </pc:sldChg>
      <pc:sldChg chg="delSp modSp new mod">
        <pc:chgData name="Tarjei Brekke" userId="b7adef12-d377-4333-8abe-995b7476d7a5" providerId="ADAL" clId="{3C96DE61-27E4-40BC-82BA-B09BCEC6C6A0}" dt="2022-08-22T10:50:52.884" v="1486" actId="1076"/>
        <pc:sldMkLst>
          <pc:docMk/>
          <pc:sldMk cId="551951027" sldId="268"/>
        </pc:sldMkLst>
        <pc:spChg chg="del">
          <ac:chgData name="Tarjei Brekke" userId="b7adef12-d377-4333-8abe-995b7476d7a5" providerId="ADAL" clId="{3C96DE61-27E4-40BC-82BA-B09BCEC6C6A0}" dt="2022-08-22T10:50:35.234" v="1484" actId="478"/>
          <ac:spMkLst>
            <pc:docMk/>
            <pc:sldMk cId="551951027" sldId="268"/>
            <ac:spMk id="3" creationId="{B7E8641C-C74A-4E39-AB48-B0AC452A0D03}"/>
          </ac:spMkLst>
        </pc:spChg>
        <pc:spChg chg="mod">
          <ac:chgData name="Tarjei Brekke" userId="b7adef12-d377-4333-8abe-995b7476d7a5" providerId="ADAL" clId="{3C96DE61-27E4-40BC-82BA-B09BCEC6C6A0}" dt="2022-08-22T10:50:52.884" v="1486" actId="1076"/>
          <ac:spMkLst>
            <pc:docMk/>
            <pc:sldMk cId="551951027" sldId="268"/>
            <ac:spMk id="4" creationId="{78478C57-20C2-4D3E-9510-772A589C3E66}"/>
          </ac:spMkLst>
        </pc:spChg>
      </pc:sldChg>
      <pc:sldChg chg="modSp new del mod">
        <pc:chgData name="Tarjei Brekke" userId="b7adef12-d377-4333-8abe-995b7476d7a5" providerId="ADAL" clId="{3C96DE61-27E4-40BC-82BA-B09BCEC6C6A0}" dt="2022-08-22T10:49:21.016" v="1416" actId="47"/>
        <pc:sldMkLst>
          <pc:docMk/>
          <pc:sldMk cId="2038385216" sldId="268"/>
        </pc:sldMkLst>
        <pc:spChg chg="mod">
          <ac:chgData name="Tarjei Brekke" userId="b7adef12-d377-4333-8abe-995b7476d7a5" providerId="ADAL" clId="{3C96DE61-27E4-40BC-82BA-B09BCEC6C6A0}" dt="2022-08-22T10:49:18.209" v="1415" actId="20577"/>
          <ac:spMkLst>
            <pc:docMk/>
            <pc:sldMk cId="2038385216" sldId="268"/>
            <ac:spMk id="5" creationId="{164A0A08-6E47-4A94-8AAA-B2EA7A982CB5}"/>
          </ac:spMkLst>
        </pc:spChg>
      </pc:sldChg>
      <pc:sldChg chg="modSp new del mod">
        <pc:chgData name="Tarjei Brekke" userId="b7adef12-d377-4333-8abe-995b7476d7a5" providerId="ADAL" clId="{3C96DE61-27E4-40BC-82BA-B09BCEC6C6A0}" dt="2022-08-22T10:49:45.115" v="1427" actId="47"/>
        <pc:sldMkLst>
          <pc:docMk/>
          <pc:sldMk cId="4016304563" sldId="268"/>
        </pc:sldMkLst>
        <pc:spChg chg="mod">
          <ac:chgData name="Tarjei Brekke" userId="b7adef12-d377-4333-8abe-995b7476d7a5" providerId="ADAL" clId="{3C96DE61-27E4-40BC-82BA-B09BCEC6C6A0}" dt="2022-08-22T10:49:42.357" v="1426" actId="20577"/>
          <ac:spMkLst>
            <pc:docMk/>
            <pc:sldMk cId="4016304563" sldId="268"/>
            <ac:spMk id="3" creationId="{BA199749-54D6-4A78-8994-96EFF0B64E77}"/>
          </ac:spMkLst>
        </pc:spChg>
      </pc:sldChg>
      <pc:sldChg chg="modSp new mod">
        <pc:chgData name="Tarjei Brekke" userId="b7adef12-d377-4333-8abe-995b7476d7a5" providerId="ADAL" clId="{3C96DE61-27E4-40BC-82BA-B09BCEC6C6A0}" dt="2022-08-23T11:16:14.204" v="6532" actId="20577"/>
        <pc:sldMkLst>
          <pc:docMk/>
          <pc:sldMk cId="3458954580" sldId="269"/>
        </pc:sldMkLst>
        <pc:spChg chg="mod">
          <ac:chgData name="Tarjei Brekke" userId="b7adef12-d377-4333-8abe-995b7476d7a5" providerId="ADAL" clId="{3C96DE61-27E4-40BC-82BA-B09BCEC6C6A0}" dt="2022-08-23T11:16:14.204" v="6532" actId="20577"/>
          <ac:spMkLst>
            <pc:docMk/>
            <pc:sldMk cId="3458954580" sldId="269"/>
            <ac:spMk id="2" creationId="{F53C035A-CAFA-4B1D-B2F5-E1CEFCBE9CA5}"/>
          </ac:spMkLst>
        </pc:spChg>
        <pc:spChg chg="mod">
          <ac:chgData name="Tarjei Brekke" userId="b7adef12-d377-4333-8abe-995b7476d7a5" providerId="ADAL" clId="{3C96DE61-27E4-40BC-82BA-B09BCEC6C6A0}" dt="2022-08-22T11:23:33.031" v="3290" actId="20577"/>
          <ac:spMkLst>
            <pc:docMk/>
            <pc:sldMk cId="3458954580" sldId="269"/>
            <ac:spMk id="5" creationId="{7B76F4C6-C339-45B1-9D0D-7F5A97EE6CFA}"/>
          </ac:spMkLst>
        </pc:spChg>
      </pc:sldChg>
    </pc:docChg>
  </pc:docChgLst>
  <pc:docChgLst>
    <pc:chgData name="Tarjei Brekke" userId="S::tarjeibr@uio.no::b7adef12-d377-4333-8abe-995b7476d7a5" providerId="AD" clId="Web-{2DB82607-0987-48D0-801E-20EED6CAC1AB}"/>
    <pc:docChg chg="addSld modSld">
      <pc:chgData name="Tarjei Brekke" userId="S::tarjeibr@uio.no::b7adef12-d377-4333-8abe-995b7476d7a5" providerId="AD" clId="Web-{2DB82607-0987-48D0-801E-20EED6CAC1AB}" dt="2022-10-13T11:57:41.269" v="697" actId="20577"/>
      <pc:docMkLst>
        <pc:docMk/>
      </pc:docMkLst>
      <pc:sldChg chg="addSp delSp modSp">
        <pc:chgData name="Tarjei Brekke" userId="S::tarjeibr@uio.no::b7adef12-d377-4333-8abe-995b7476d7a5" providerId="AD" clId="Web-{2DB82607-0987-48D0-801E-20EED6CAC1AB}" dt="2022-10-13T11:45:13.887" v="486" actId="1076"/>
        <pc:sldMkLst>
          <pc:docMk/>
          <pc:sldMk cId="99325339" sldId="257"/>
        </pc:sldMkLst>
        <pc:spChg chg="mod">
          <ac:chgData name="Tarjei Brekke" userId="S::tarjeibr@uio.no::b7adef12-d377-4333-8abe-995b7476d7a5" providerId="AD" clId="Web-{2DB82607-0987-48D0-801E-20EED6CAC1AB}" dt="2022-10-13T11:43:08.042" v="465" actId="14100"/>
          <ac:spMkLst>
            <pc:docMk/>
            <pc:sldMk cId="99325339" sldId="257"/>
            <ac:spMk id="3" creationId="{61CF6F82-04E1-4B46-B708-BF70B5B05CC1}"/>
          </ac:spMkLst>
        </pc:spChg>
        <pc:spChg chg="mod">
          <ac:chgData name="Tarjei Brekke" userId="S::tarjeibr@uio.no::b7adef12-d377-4333-8abe-995b7476d7a5" providerId="AD" clId="Web-{2DB82607-0987-48D0-801E-20EED6CAC1AB}" dt="2022-10-13T11:43:29.808" v="469" actId="1076"/>
          <ac:spMkLst>
            <pc:docMk/>
            <pc:sldMk cId="99325339" sldId="257"/>
            <ac:spMk id="4" creationId="{EA8EE129-EFF0-44E0-867E-445C843302ED}"/>
          </ac:spMkLst>
        </pc:spChg>
        <pc:spChg chg="mod">
          <ac:chgData name="Tarjei Brekke" userId="S::tarjeibr@uio.no::b7adef12-d377-4333-8abe-995b7476d7a5" providerId="AD" clId="Web-{2DB82607-0987-48D0-801E-20EED6CAC1AB}" dt="2022-10-13T11:43:13.323" v="466" actId="1076"/>
          <ac:spMkLst>
            <pc:docMk/>
            <pc:sldMk cId="99325339" sldId="257"/>
            <ac:spMk id="5" creationId="{418C4DE4-970F-406B-ADDB-811B357BFF0A}"/>
          </ac:spMkLst>
        </pc:spChg>
        <pc:spChg chg="mod">
          <ac:chgData name="Tarjei Brekke" userId="S::tarjeibr@uio.no::b7adef12-d377-4333-8abe-995b7476d7a5" providerId="AD" clId="Web-{2DB82607-0987-48D0-801E-20EED6CAC1AB}" dt="2022-10-13T11:44:04.261" v="473" actId="14100"/>
          <ac:spMkLst>
            <pc:docMk/>
            <pc:sldMk cId="99325339" sldId="257"/>
            <ac:spMk id="6" creationId="{5AA5B20F-0C17-4F4C-A3D1-94544CBAC54A}"/>
          </ac:spMkLst>
        </pc:spChg>
        <pc:spChg chg="mod">
          <ac:chgData name="Tarjei Brekke" userId="S::tarjeibr@uio.no::b7adef12-d377-4333-8abe-995b7476d7a5" providerId="AD" clId="Web-{2DB82607-0987-48D0-801E-20EED6CAC1AB}" dt="2022-10-13T11:43:25.433" v="468" actId="14100"/>
          <ac:spMkLst>
            <pc:docMk/>
            <pc:sldMk cId="99325339" sldId="257"/>
            <ac:spMk id="7" creationId="{2BF2EA92-0F09-48F4-AC4B-A68B7237D7E0}"/>
          </ac:spMkLst>
        </pc:spChg>
        <pc:spChg chg="mod">
          <ac:chgData name="Tarjei Brekke" userId="S::tarjeibr@uio.no::b7adef12-d377-4333-8abe-995b7476d7a5" providerId="AD" clId="Web-{2DB82607-0987-48D0-801E-20EED6CAC1AB}" dt="2022-10-13T11:44:08.058" v="474" actId="14100"/>
          <ac:spMkLst>
            <pc:docMk/>
            <pc:sldMk cId="99325339" sldId="257"/>
            <ac:spMk id="8" creationId="{583C23D3-EDA1-47BA-B589-533A389CFF5E}"/>
          </ac:spMkLst>
        </pc:spChg>
        <pc:spChg chg="mod">
          <ac:chgData name="Tarjei Brekke" userId="S::tarjeibr@uio.no::b7adef12-d377-4333-8abe-995b7476d7a5" providerId="AD" clId="Web-{2DB82607-0987-48D0-801E-20EED6CAC1AB}" dt="2022-10-13T11:45:13.887" v="486" actId="1076"/>
          <ac:spMkLst>
            <pc:docMk/>
            <pc:sldMk cId="99325339" sldId="257"/>
            <ac:spMk id="10" creationId="{A8F3766F-E293-4896-95E3-2706FA3519EF}"/>
          </ac:spMkLst>
        </pc:spChg>
        <pc:spChg chg="add del">
          <ac:chgData name="Tarjei Brekke" userId="S::tarjeibr@uio.no::b7adef12-d377-4333-8abe-995b7476d7a5" providerId="AD" clId="Web-{2DB82607-0987-48D0-801E-20EED6CAC1AB}" dt="2022-10-13T11:44:22.965" v="477"/>
          <ac:spMkLst>
            <pc:docMk/>
            <pc:sldMk cId="99325339" sldId="257"/>
            <ac:spMk id="11" creationId="{A03D0E6F-9770-DC29-0F0C-2FE25651BE50}"/>
          </ac:spMkLst>
        </pc:spChg>
        <pc:spChg chg="add mod">
          <ac:chgData name="Tarjei Brekke" userId="S::tarjeibr@uio.no::b7adef12-d377-4333-8abe-995b7476d7a5" providerId="AD" clId="Web-{2DB82607-0987-48D0-801E-20EED6CAC1AB}" dt="2022-10-13T11:44:55.918" v="485" actId="20577"/>
          <ac:spMkLst>
            <pc:docMk/>
            <pc:sldMk cId="99325339" sldId="257"/>
            <ac:spMk id="12" creationId="{665D4BC9-8010-4D5C-C377-047565C691BC}"/>
          </ac:spMkLst>
        </pc:spChg>
      </pc:sldChg>
      <pc:sldChg chg="modSp">
        <pc:chgData name="Tarjei Brekke" userId="S::tarjeibr@uio.no::b7adef12-d377-4333-8abe-995b7476d7a5" providerId="AD" clId="Web-{2DB82607-0987-48D0-801E-20EED6CAC1AB}" dt="2022-10-13T11:57:41.269" v="697" actId="20577"/>
        <pc:sldMkLst>
          <pc:docMk/>
          <pc:sldMk cId="151869653" sldId="265"/>
        </pc:sldMkLst>
        <pc:spChg chg="mod">
          <ac:chgData name="Tarjei Brekke" userId="S::tarjeibr@uio.no::b7adef12-d377-4333-8abe-995b7476d7a5" providerId="AD" clId="Web-{2DB82607-0987-48D0-801E-20EED6CAC1AB}" dt="2022-10-13T11:57:41.269" v="697" actId="20577"/>
          <ac:spMkLst>
            <pc:docMk/>
            <pc:sldMk cId="151869653" sldId="265"/>
            <ac:spMk id="2" creationId="{C53CE54E-2DFF-4B39-BFCE-F61FF6A14B1F}"/>
          </ac:spMkLst>
        </pc:spChg>
      </pc:sldChg>
      <pc:sldChg chg="modSp">
        <pc:chgData name="Tarjei Brekke" userId="S::tarjeibr@uio.no::b7adef12-d377-4333-8abe-995b7476d7a5" providerId="AD" clId="Web-{2DB82607-0987-48D0-801E-20EED6CAC1AB}" dt="2022-10-13T11:56:30.316" v="649" actId="20577"/>
        <pc:sldMkLst>
          <pc:docMk/>
          <pc:sldMk cId="3732191344" sldId="266"/>
        </pc:sldMkLst>
        <pc:spChg chg="mod">
          <ac:chgData name="Tarjei Brekke" userId="S::tarjeibr@uio.no::b7adef12-d377-4333-8abe-995b7476d7a5" providerId="AD" clId="Web-{2DB82607-0987-48D0-801E-20EED6CAC1AB}" dt="2022-10-13T11:56:30.316" v="649" actId="20577"/>
          <ac:spMkLst>
            <pc:docMk/>
            <pc:sldMk cId="3732191344" sldId="266"/>
            <ac:spMk id="2" creationId="{938ED88D-C62E-4DE5-84C6-AAAB8D133DF4}"/>
          </ac:spMkLst>
        </pc:spChg>
      </pc:sldChg>
      <pc:sldChg chg="modSp">
        <pc:chgData name="Tarjei Brekke" userId="S::tarjeibr@uio.no::b7adef12-d377-4333-8abe-995b7476d7a5" providerId="AD" clId="Web-{2DB82607-0987-48D0-801E-20EED6CAC1AB}" dt="2022-10-13T11:54:48.393" v="587" actId="20577"/>
        <pc:sldMkLst>
          <pc:docMk/>
          <pc:sldMk cId="946816380" sldId="270"/>
        </pc:sldMkLst>
        <pc:spChg chg="mod">
          <ac:chgData name="Tarjei Brekke" userId="S::tarjeibr@uio.no::b7adef12-d377-4333-8abe-995b7476d7a5" providerId="AD" clId="Web-{2DB82607-0987-48D0-801E-20EED6CAC1AB}" dt="2022-10-13T11:54:48.393" v="587" actId="20577"/>
          <ac:spMkLst>
            <pc:docMk/>
            <pc:sldMk cId="946816380" sldId="270"/>
            <ac:spMk id="2" creationId="{A053AC7A-F04D-4F2E-A5C5-C759E1E64AD8}"/>
          </ac:spMkLst>
        </pc:spChg>
      </pc:sldChg>
      <pc:sldChg chg="modSp new">
        <pc:chgData name="Tarjei Brekke" userId="S::tarjeibr@uio.no::b7adef12-d377-4333-8abe-995b7476d7a5" providerId="AD" clId="Web-{2DB82607-0987-48D0-801E-20EED6CAC1AB}" dt="2022-10-13T11:42:55.964" v="464" actId="20577"/>
        <pc:sldMkLst>
          <pc:docMk/>
          <pc:sldMk cId="1912483152" sldId="280"/>
        </pc:sldMkLst>
        <pc:spChg chg="mod">
          <ac:chgData name="Tarjei Brekke" userId="S::tarjeibr@uio.no::b7adef12-d377-4333-8abe-995b7476d7a5" providerId="AD" clId="Web-{2DB82607-0987-48D0-801E-20EED6CAC1AB}" dt="2022-10-13T11:42:55.964" v="464" actId="20577"/>
          <ac:spMkLst>
            <pc:docMk/>
            <pc:sldMk cId="1912483152" sldId="280"/>
            <ac:spMk id="2" creationId="{FC22E965-8329-D394-9C7C-3B366AD536CB}"/>
          </ac:spMkLst>
        </pc:spChg>
        <pc:spChg chg="mod">
          <ac:chgData name="Tarjei Brekke" userId="S::tarjeibr@uio.no::b7adef12-d377-4333-8abe-995b7476d7a5" providerId="AD" clId="Web-{2DB82607-0987-48D0-801E-20EED6CAC1AB}" dt="2022-10-13T11:09:11.538" v="15" actId="20577"/>
          <ac:spMkLst>
            <pc:docMk/>
            <pc:sldMk cId="1912483152" sldId="280"/>
            <ac:spMk id="5" creationId="{51816294-F669-1871-FA64-69BFC17315C5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C0CBB1AE-B262-4787-8C52-A05D0CE6049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73FD16A-3B73-4A4E-801F-F604E6F8DCE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35DD0C3-4885-4BAA-9AA1-C9918694A47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8D4A009-C602-41F4-8272-F25F5B05B5A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392294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5051F8B-E38A-4262-93D6-EEE8CE2CF8CB}" type="datetimeFigureOut">
              <a:rPr lang="en-US" smtClean="0"/>
              <a:t>10/13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A72985F-36CD-4D87-8C89-674A558E80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42915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32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263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395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526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657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789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920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052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image" Target="../media/image6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6.svg"/><Relationship Id="rId7" Type="http://schemas.openxmlformats.org/officeDocument/2006/relationships/image" Target="../media/image8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Relationship Id="rId9" Type="http://schemas.openxmlformats.org/officeDocument/2006/relationships/image" Target="../media/image10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openxmlformats.org/officeDocument/2006/relationships/image" Target="../media/image5.png"/><Relationship Id="rId7" Type="http://schemas.openxmlformats.org/officeDocument/2006/relationships/image" Target="../media/image7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10" Type="http://schemas.openxmlformats.org/officeDocument/2006/relationships/image" Target="../media/image10.svg"/><Relationship Id="rId4" Type="http://schemas.openxmlformats.org/officeDocument/2006/relationships/image" Target="../media/image6.svg"/><Relationship Id="rId9" Type="http://schemas.openxmlformats.org/officeDocument/2006/relationships/image" Target="../media/image9.pn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6.svg"/><Relationship Id="rId7" Type="http://schemas.openxmlformats.org/officeDocument/2006/relationships/image" Target="../media/image8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Relationship Id="rId9" Type="http://schemas.openxmlformats.org/officeDocument/2006/relationships/image" Target="../media/image10.svg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6.svg"/><Relationship Id="rId7" Type="http://schemas.openxmlformats.org/officeDocument/2006/relationships/image" Target="../media/image8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Relationship Id="rId9" Type="http://schemas.openxmlformats.org/officeDocument/2006/relationships/image" Target="../media/image10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16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15.png"/><Relationship Id="rId5" Type="http://schemas.openxmlformats.org/officeDocument/2006/relationships/image" Target="../media/image14.jpe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16.svg"/><Relationship Id="rId5" Type="http://schemas.openxmlformats.org/officeDocument/2006/relationships/image" Target="../media/image15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6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halv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0E962FF3-951D-4441-9C7D-501471E5888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7AED3548-5867-47BB-8575-A83E0A9CE3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6112" y="381854"/>
            <a:ext cx="5619582" cy="1116919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DC827CE2-8409-4B09-A9E5-74716A2BA2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1" name="Subtitle 2">
            <a:extLst>
              <a:ext uri="{FF2B5EF4-FFF2-40B4-BE49-F238E27FC236}">
                <a16:creationId xmlns:a16="http://schemas.microsoft.com/office/drawing/2014/main" id="{73782A73-0164-4D2C-BAD5-DF53C4F800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Navn Etternavn</a:t>
            </a:r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0C9865C8-230B-42BE-8B05-ECBF9A085E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6371C43A-1652-4674-9385-53CBD32109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8" name="Date Placeholder 3">
            <a:extLst>
              <a:ext uri="{FF2B5EF4-FFF2-40B4-BE49-F238E27FC236}">
                <a16:creationId xmlns:a16="http://schemas.microsoft.com/office/drawing/2014/main" id="{A1654625-2F9D-43A8-9B19-A1501B2C4B8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21" name="Text Placeholder 4" descr="UiO segl">
            <a:extLst>
              <a:ext uri="{FF2B5EF4-FFF2-40B4-BE49-F238E27FC236}">
                <a16:creationId xmlns:a16="http://schemas.microsoft.com/office/drawing/2014/main" id="{D397E638-588F-47C4-8318-DB30D79BCF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14" name="addin_colorbox" hidden="1">
            <a:extLst>
              <a:ext uri="{FF2B5EF4-FFF2-40B4-BE49-F238E27FC236}">
                <a16:creationId xmlns:a16="http://schemas.microsoft.com/office/drawing/2014/main" id="{B34046E2-E0A0-4315-9411-04EBA19D54D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EB9E8B29-78FF-422D-B648-7D4F0D403082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918F58FB-9B03-413E-989C-AE087C74A79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16BC30A-E2A3-4BB3-8175-D14FBA97BB4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189797EA-4203-48ED-9B9C-9481B1311A5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D3C84601-A4D0-4B48-876F-9DC17367A2A1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pic>
        <p:nvPicPr>
          <p:cNvPr id="22" name="logo_hvit" descr="UiO Segl" hidden="1">
            <a:extLst>
              <a:ext uri="{FF2B5EF4-FFF2-40B4-BE49-F238E27FC236}">
                <a16:creationId xmlns:a16="http://schemas.microsoft.com/office/drawing/2014/main" id="{9312E79A-63CD-41D4-8EA6-B9BD7EBEEAD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3" name="logo_sort" descr="UiO Segl" hidden="1">
            <a:extLst>
              <a:ext uri="{FF2B5EF4-FFF2-40B4-BE49-F238E27FC236}">
                <a16:creationId xmlns:a16="http://schemas.microsoft.com/office/drawing/2014/main" id="{CCD2A0AF-6987-472B-AB0A-FE4E51B298B4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4" name="addin_colorlist" hidden="1">
            <a:extLst>
              <a:ext uri="{FF2B5EF4-FFF2-40B4-BE49-F238E27FC236}">
                <a16:creationId xmlns:a16="http://schemas.microsoft.com/office/drawing/2014/main" id="{FD548E61-D022-4178-8722-46839AB856D2}"/>
              </a:ext>
            </a:extLst>
          </p:cNvPr>
          <p:cNvSpPr/>
          <p:nvPr userDrawn="1"/>
        </p:nvSpPr>
        <p:spPr>
          <a:xfrm>
            <a:off x="152400" y="-13141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3333ACA-8377-46D1-9D90-73F9F4A0D07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9038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err="1"/>
              <a:t>Underoverskrif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54692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542A6449-D96E-414F-A604-C4E12FC569E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err="1">
                <a:latin typeface="Arial, sans-serif"/>
              </a:rPr>
              <a:t>Velg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akultet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ra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nedtrekksmenyen</a:t>
            </a:r>
            <a:endParaRPr lang="nb-NO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3E20FF9-F861-400C-878F-01B66486016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D729F8AC-6A5E-427F-BADE-EA072C6164C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548DDD7D-1EE4-480A-9DFC-6999E44EAAF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94EC4BF0-912D-4C74-897D-7058B1C43F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4387C63E-1139-41C5-A5DA-C7934430189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6E45B275-2917-4791-9D93-B119E57F1E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3677782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B080593B-46D5-4272-829F-0AB9BB0A7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09880" y="0"/>
            <a:ext cx="5982120" cy="685800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AA9DF7D4-90D1-427E-86F5-96B8E6DDF5C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err="1">
                <a:latin typeface="Arial, sans-serif"/>
              </a:rPr>
              <a:t>Velg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akultet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ra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nedtrekksmenyen</a:t>
            </a:r>
            <a:endParaRPr lang="nb-NO" noProof="0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05359BE4-B9E6-44C9-994B-4B43BA31858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9038" y="653143"/>
            <a:ext cx="5075367" cy="1204686"/>
          </a:xfrm>
        </p:spPr>
        <p:txBody>
          <a:bodyPr/>
          <a:lstStyle>
            <a:lvl1pPr marL="0" indent="0">
              <a:buNone/>
              <a:defRPr lang="en-US" sz="200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/>
              <a:t>Navn på institutt</a:t>
            </a:r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B8A0E4F-1BA9-45F5-9553-E579F5F1C2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9039" y="2302849"/>
            <a:ext cx="5080128" cy="1702414"/>
          </a:xfrm>
        </p:spPr>
        <p:txBody>
          <a:bodyPr/>
          <a:lstStyle>
            <a:lvl1pPr marL="0" indent="0">
              <a:buNone/>
              <a:defRPr sz="4500"/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8EA911F-B545-4F74-AF42-9EC2B355D8F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4E55111D-AB70-4D2B-9C10-0B91F296CDF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1DB45DBF-1D97-4017-83BE-AD48141222A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88916788-1A25-4BF7-B2F3-11CED5D74CB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27D749C7-8972-4648-8357-FE945BD112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5046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5379758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F5D4F5D-6A45-4660-B498-EC62A1753C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02667" y="1768008"/>
            <a:ext cx="5863168" cy="435133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4pPr>
          </a:lstStyle>
          <a:p>
            <a:pPr lvl="0"/>
            <a:r>
              <a:rPr lang="nb-NO"/>
              <a:t>Punkt A</a:t>
            </a:r>
          </a:p>
          <a:p>
            <a:pPr lvl="0"/>
            <a:r>
              <a:rPr lang="nb-NO"/>
              <a:t>Punkt B</a:t>
            </a:r>
          </a:p>
          <a:p>
            <a:pPr lvl="0"/>
            <a:r>
              <a:rPr lang="nb-NO"/>
              <a:t>Punkt C</a:t>
            </a:r>
          </a:p>
          <a:p>
            <a:pPr lvl="0"/>
            <a:r>
              <a:rPr lang="nb-NO"/>
              <a:t>Punkt D</a:t>
            </a:r>
            <a:endParaRPr lang="en-US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F9CB4958-81B1-49B9-BBDA-D042DC89C1F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05658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9E40B9F-ECB7-4387-A58C-0A496B930AD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36716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/>
              <a:t>Punkt A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  <a:p>
            <a:pPr lvl="3"/>
            <a:r>
              <a:rPr lang="nb-NO" noProof="0" err="1"/>
              <a:t>Fourth</a:t>
            </a:r>
            <a:r>
              <a:rPr lang="nb-NO" noProof="0"/>
              <a:t> </a:t>
            </a:r>
            <a:r>
              <a:rPr lang="nb-NO" noProof="0" err="1"/>
              <a:t>level</a:t>
            </a:r>
            <a:endParaRPr lang="nb-NO" noProof="0"/>
          </a:p>
          <a:p>
            <a:pPr lvl="4"/>
            <a:r>
              <a:rPr lang="nb-NO" noProof="0"/>
              <a:t>Fifth </a:t>
            </a:r>
            <a:r>
              <a:rPr lang="nb-NO" noProof="0" err="1"/>
              <a:t>level</a:t>
            </a:r>
            <a:endParaRPr lang="nb-NO" noProof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36E426CF-9990-43F5-BE14-226088D8A7B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13844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/>
              <a:t>Punkt B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  <a:p>
            <a:pPr lvl="3"/>
            <a:r>
              <a:rPr lang="nb-NO" noProof="0" err="1"/>
              <a:t>Fourth</a:t>
            </a:r>
            <a:r>
              <a:rPr lang="nb-NO" noProof="0"/>
              <a:t> </a:t>
            </a:r>
            <a:r>
              <a:rPr lang="nb-NO" noProof="0" err="1"/>
              <a:t>level</a:t>
            </a:r>
            <a:endParaRPr lang="nb-NO" noProof="0"/>
          </a:p>
          <a:p>
            <a:pPr lvl="4"/>
            <a:r>
              <a:rPr lang="nb-NO" noProof="0"/>
              <a:t>Fifth </a:t>
            </a:r>
            <a:r>
              <a:rPr lang="nb-NO" noProof="0" err="1"/>
              <a:t>level</a:t>
            </a:r>
            <a:endParaRPr lang="nb-NO" noProof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B679225E-A5E2-4DC8-9837-7BCA23C8E40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736715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/>
              <a:t>Punkt C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  <a:p>
            <a:pPr lvl="3"/>
            <a:r>
              <a:rPr lang="nb-NO" noProof="0" err="1"/>
              <a:t>Fourth</a:t>
            </a:r>
            <a:r>
              <a:rPr lang="nb-NO" noProof="0"/>
              <a:t> </a:t>
            </a:r>
            <a:r>
              <a:rPr lang="nb-NO" noProof="0" err="1"/>
              <a:t>level</a:t>
            </a:r>
            <a:endParaRPr lang="nb-NO" noProof="0"/>
          </a:p>
          <a:p>
            <a:pPr lvl="4"/>
            <a:r>
              <a:rPr lang="nb-NO" noProof="0"/>
              <a:t>Fifth </a:t>
            </a:r>
            <a:r>
              <a:rPr lang="nb-NO" noProof="0" err="1"/>
              <a:t>level</a:t>
            </a:r>
            <a:endParaRPr lang="nb-NO" noProof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A833A43-18E3-4392-918C-09F8E26D369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413844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/>
              <a:t>Punkt D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  <a:p>
            <a:pPr lvl="3"/>
            <a:r>
              <a:rPr lang="nb-NO" noProof="0" err="1"/>
              <a:t>Fourth</a:t>
            </a:r>
            <a:r>
              <a:rPr lang="nb-NO" noProof="0"/>
              <a:t> </a:t>
            </a:r>
            <a:r>
              <a:rPr lang="nb-NO" noProof="0" err="1"/>
              <a:t>level</a:t>
            </a:r>
            <a:endParaRPr lang="nb-NO" noProof="0"/>
          </a:p>
          <a:p>
            <a:pPr lvl="4"/>
            <a:r>
              <a:rPr lang="nb-NO" noProof="0"/>
              <a:t>Fifth </a:t>
            </a:r>
            <a:r>
              <a:rPr lang="nb-NO" noProof="0" err="1"/>
              <a:t>level</a:t>
            </a:r>
            <a:endParaRPr lang="nb-NO" noProof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23B8277-88D5-4007-B32D-B587FB6C14E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736714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/>
              <a:t>Punkt E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  <a:p>
            <a:pPr lvl="3"/>
            <a:r>
              <a:rPr lang="nb-NO" noProof="0" err="1"/>
              <a:t>Fourth</a:t>
            </a:r>
            <a:r>
              <a:rPr lang="nb-NO" noProof="0"/>
              <a:t> </a:t>
            </a:r>
            <a:r>
              <a:rPr lang="nb-NO" noProof="0" err="1"/>
              <a:t>level</a:t>
            </a:r>
            <a:endParaRPr lang="nb-NO" noProof="0"/>
          </a:p>
          <a:p>
            <a:pPr lvl="4"/>
            <a:r>
              <a:rPr lang="nb-NO" noProof="0"/>
              <a:t>Fifth </a:t>
            </a:r>
            <a:r>
              <a:rPr lang="nb-NO" noProof="0" err="1"/>
              <a:t>level</a:t>
            </a:r>
            <a:endParaRPr lang="nb-NO" noProof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2366E2B9-433F-4D84-9677-520FBB3E32B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13845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/>
              <a:t>Punkt F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  <a:p>
            <a:pPr lvl="3"/>
            <a:r>
              <a:rPr lang="nb-NO" noProof="0" err="1"/>
              <a:t>Fourth</a:t>
            </a:r>
            <a:r>
              <a:rPr lang="nb-NO" noProof="0"/>
              <a:t> </a:t>
            </a:r>
            <a:r>
              <a:rPr lang="nb-NO" noProof="0" err="1"/>
              <a:t>level</a:t>
            </a:r>
            <a:endParaRPr lang="nb-NO" noProof="0"/>
          </a:p>
          <a:p>
            <a:pPr lvl="4"/>
            <a:r>
              <a:rPr lang="nb-NO" noProof="0"/>
              <a:t>Fifth </a:t>
            </a:r>
            <a:r>
              <a:rPr lang="nb-NO" noProof="0" err="1"/>
              <a:t>level</a:t>
            </a:r>
            <a:endParaRPr lang="nb-NO" noProof="0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02B12D4E-956E-456A-B250-54F8DAC4F518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262674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DBCC00A-19CF-41BF-8147-46CE1C6A77C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/>
              <a:t>Trykk - &gt; Sett inn -&gt; Bilde for å endre eller sette inn bilde</a:t>
            </a:r>
            <a:endParaRPr lang="en-US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545301A6-9B63-4AF8-9A67-C362499DE55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1144304"/>
            <a:ext cx="9144000" cy="1655762"/>
          </a:xfrm>
        </p:spPr>
        <p:txBody>
          <a:bodyPr wrap="none" bIns="0" anchor="b"/>
          <a:lstStyle>
            <a:lvl1pPr marL="0" indent="0" algn="ctr">
              <a:buNone/>
              <a:defRPr sz="1750"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Klikk for å redigere undertittelstil i malen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7DF5643-8F24-4F16-9356-F129900A4A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3151019"/>
            <a:ext cx="9144000" cy="1878763"/>
          </a:xfrm>
        </p:spPr>
        <p:txBody>
          <a:bodyPr wrap="none" anchor="t"/>
          <a:lstStyle>
            <a:lvl1pPr algn="ctr">
              <a:defRPr sz="4501">
                <a:highlight>
                  <a:srgbClr val="FFFFFF"/>
                </a:highlight>
              </a:defRPr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8" name="Text Placeholder 4" descr="Logo Universitetet i oslo">
            <a:extLst>
              <a:ext uri="{FF2B5EF4-FFF2-40B4-BE49-F238E27FC236}">
                <a16:creationId xmlns:a16="http://schemas.microsoft.com/office/drawing/2014/main" id="{CB6C8A24-C7F7-483C-B347-EFA80560FB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0DAEC6C7-85EA-449B-8EE8-2D97BF53ED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283FD976-C7D4-4015-A9BA-91E02E673E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addin_colorlist" hidden="1">
            <a:extLst>
              <a:ext uri="{FF2B5EF4-FFF2-40B4-BE49-F238E27FC236}">
                <a16:creationId xmlns:a16="http://schemas.microsoft.com/office/drawing/2014/main" id="{F6C04A44-E476-4A49-B738-EE2D47D4BAD9}"/>
              </a:ext>
            </a:extLst>
          </p:cNvPr>
          <p:cNvSpPr/>
          <p:nvPr userDrawn="1"/>
        </p:nvSpPr>
        <p:spPr>
          <a:xfrm>
            <a:off x="0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sid1, sid2, sid3, sid4</a:t>
            </a:r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27C08BAF-0936-474D-B97E-5B57BFE4B3DC}"/>
              </a:ext>
            </a:extLst>
          </p:cNvPr>
          <p:cNvSpPr/>
          <p:nvPr userDrawn="1"/>
        </p:nvSpPr>
        <p:spPr>
          <a:xfrm>
            <a:off x="4973338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1" name="addin_title" hidden="1">
            <a:extLst>
              <a:ext uri="{FF2B5EF4-FFF2-40B4-BE49-F238E27FC236}">
                <a16:creationId xmlns:a16="http://schemas.microsoft.com/office/drawing/2014/main" id="{CD588095-EB6E-4EE9-A470-1FC6B276AA84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2" name="addin_text" hidden="1">
            <a:extLst>
              <a:ext uri="{FF2B5EF4-FFF2-40B4-BE49-F238E27FC236}">
                <a16:creationId xmlns:a16="http://schemas.microsoft.com/office/drawing/2014/main" id="{01792D08-5194-467E-A9CB-E87CD6F0CF3C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4" name="addin_image" hidden="1">
            <a:extLst>
              <a:ext uri="{FF2B5EF4-FFF2-40B4-BE49-F238E27FC236}">
                <a16:creationId xmlns:a16="http://schemas.microsoft.com/office/drawing/2014/main" id="{7E0FF7D7-FC31-4FA1-B98D-9F5E73E0ED06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5" name="addin_background" hidden="1">
            <a:extLst>
              <a:ext uri="{FF2B5EF4-FFF2-40B4-BE49-F238E27FC236}">
                <a16:creationId xmlns:a16="http://schemas.microsoft.com/office/drawing/2014/main" id="{D73E79DB-AFAF-477A-B39A-3600CE59C83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/>
          </a:p>
        </p:txBody>
      </p:sp>
      <p:sp>
        <p:nvSpPr>
          <p:cNvPr id="16" name="addin_logo" hidden="1">
            <a:extLst>
              <a:ext uri="{FF2B5EF4-FFF2-40B4-BE49-F238E27FC236}">
                <a16:creationId xmlns:a16="http://schemas.microsoft.com/office/drawing/2014/main" id="{6D0ECAE0-D83D-477F-8858-4811F35FC31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35868524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t 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10FAE04-E853-4650-A24D-5F754E1D5AE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chemeClr val="accent6"/>
          </a:solidFill>
        </p:spPr>
        <p:txBody>
          <a:bodyPr lIns="0" tIns="0" rIns="0" bIns="0"/>
          <a:lstStyle>
            <a:lvl1pPr>
              <a:buNone/>
              <a:defRPr>
                <a:solidFill>
                  <a:schemeClr val="bg1"/>
                </a:solidFill>
              </a:defRPr>
            </a:lvl1pPr>
          </a:lstStyle>
          <a:p>
            <a:pPr marL="125438" marR="0" lvl="0" indent="-125438" algn="l" defTabSz="914446" rtl="0" eaLnBrk="1" fontAlgn="auto" latinLnBrk="0" hangingPunct="1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/>
              <a:t>Trykk - &gt; Sett inn -&gt; Bilde for å endre eller sette inn bilde</a:t>
            </a:r>
            <a:endParaRPr lang="en-US"/>
          </a:p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057638"/>
            <a:ext cx="9144000" cy="2733991"/>
          </a:xfrm>
        </p:spPr>
        <p:txBody>
          <a:bodyPr anchor="ctr"/>
          <a:lstStyle>
            <a:lvl1pPr algn="ctr">
              <a:lnSpc>
                <a:spcPct val="100000"/>
              </a:lnSpc>
              <a:defRPr sz="4501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r>
              <a:rPr lang="nb-NO" noProof="0"/>
              <a:t>Sitat</a:t>
            </a:r>
          </a:p>
        </p:txBody>
      </p:sp>
      <p:sp>
        <p:nvSpPr>
          <p:cNvPr id="11" name="Text Placeholder 4" descr="Logo Universitetet i oslo">
            <a:extLst>
              <a:ext uri="{FF2B5EF4-FFF2-40B4-BE49-F238E27FC236}">
                <a16:creationId xmlns:a16="http://schemas.microsoft.com/office/drawing/2014/main" id="{85E9E616-9857-4793-9543-97601CFB29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3688BA85-E873-4370-B3DC-1DB3D6805327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sitk1, sitk2, sitk3</a:t>
            </a:r>
          </a:p>
        </p:txBody>
      </p:sp>
      <p:sp>
        <p:nvSpPr>
          <p:cNvPr id="5" name="addin_colorbox" hidden="1">
            <a:extLst>
              <a:ext uri="{FF2B5EF4-FFF2-40B4-BE49-F238E27FC236}">
                <a16:creationId xmlns:a16="http://schemas.microsoft.com/office/drawing/2014/main" id="{01750E1E-149D-4737-BB50-E180FD96210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6" name="addin_title" hidden="1">
            <a:extLst>
              <a:ext uri="{FF2B5EF4-FFF2-40B4-BE49-F238E27FC236}">
                <a16:creationId xmlns:a16="http://schemas.microsoft.com/office/drawing/2014/main" id="{8A95C1E6-41C2-4B63-A678-1197B885A271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7" name="addin_text" hidden="1">
            <a:extLst>
              <a:ext uri="{FF2B5EF4-FFF2-40B4-BE49-F238E27FC236}">
                <a16:creationId xmlns:a16="http://schemas.microsoft.com/office/drawing/2014/main" id="{88900728-1D9A-4CFE-BD46-77F03BBF68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8" name="addin_image" hidden="1">
            <a:extLst>
              <a:ext uri="{FF2B5EF4-FFF2-40B4-BE49-F238E27FC236}">
                <a16:creationId xmlns:a16="http://schemas.microsoft.com/office/drawing/2014/main" id="{71F63DE9-1A9D-416E-8BF1-5DDBAC2C366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9" name="addin_grouplist" hidden="1">
            <a:extLst>
              <a:ext uri="{FF2B5EF4-FFF2-40B4-BE49-F238E27FC236}">
                <a16:creationId xmlns:a16="http://schemas.microsoft.com/office/drawing/2014/main" id="{55453450-7C5E-47ED-8FB9-95BB5C190194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10" name="addin_background" hidden="1">
            <a:extLst>
              <a:ext uri="{FF2B5EF4-FFF2-40B4-BE49-F238E27FC236}">
                <a16:creationId xmlns:a16="http://schemas.microsoft.com/office/drawing/2014/main" id="{19DE1B7D-2015-4D3D-81DA-BE1C0B884B8C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2DACBF1F-1831-46CB-8E94-DAC5CC4C8A53}"/>
              </a:ext>
            </a:extLst>
          </p:cNvPr>
          <p:cNvSpPr/>
          <p:nvPr userDrawn="1"/>
        </p:nvSpPr>
        <p:spPr>
          <a:xfrm>
            <a:off x="2583335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sitk1, sitk2, sitk3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08780C0B-BBD9-4BF7-B461-4D609C762B61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3E5FC6D0-29E6-4763-9016-B07C6C2F674E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E5048523-44FB-402D-AF9A-189895D758AB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4EBCC3D3-FB5E-4C44-BD2A-4765289129B6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A21182DD-62B1-48E3-8A1E-30E0E49F858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DA65AA7C-2435-43EC-9E54-A952934DE561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33147166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tekstboks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56C04064-582F-4194-A0D4-8D33390FD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47" name="Subtitle 2">
            <a:extLst>
              <a:ext uri="{FF2B5EF4-FFF2-40B4-BE49-F238E27FC236}">
                <a16:creationId xmlns:a16="http://schemas.microsoft.com/office/drawing/2014/main" id="{A3A431AF-BD4A-47F9-9ACD-109F83F1426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/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387AD4FF-2A17-41D2-9989-72E3EE53EDB7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4" y="1757498"/>
            <a:ext cx="11471910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82207EF-1A49-4BEC-B35C-772E1E2EFECD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3134CF4-4951-4824-A36D-2B6BAEF472C0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2E7BD1C-79CF-4E20-AC8F-E2817B8B3D12}"/>
              </a:ext>
            </a:extLst>
          </p:cNvPr>
          <p:cNvSpPr/>
          <p:nvPr userDrawn="1"/>
        </p:nvSpPr>
        <p:spPr>
          <a:xfrm>
            <a:off x="540068" y="0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AD8EE3EE-092D-4B85-A85F-E434A4CB9A2F}"/>
              </a:ext>
            </a:extLst>
          </p:cNvPr>
          <p:cNvSpPr/>
          <p:nvPr userDrawn="1"/>
        </p:nvSpPr>
        <p:spPr>
          <a:xfrm>
            <a:off x="0" y="337731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33BC282A-3B9D-407C-B9DA-F5A304A0AE2D}"/>
              </a:ext>
            </a:extLst>
          </p:cNvPr>
          <p:cNvSpPr/>
          <p:nvPr userDrawn="1"/>
        </p:nvSpPr>
        <p:spPr>
          <a:xfrm>
            <a:off x="11831955" y="482939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7DC556F4-6EA1-44E3-8D60-1261088C71C7}"/>
              </a:ext>
            </a:extLst>
          </p:cNvPr>
          <p:cNvSpPr/>
          <p:nvPr userDrawn="1"/>
        </p:nvSpPr>
        <p:spPr>
          <a:xfrm>
            <a:off x="1" y="902703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74E62C8F-7CC6-4F3A-88DB-ADB3F3D757CE}"/>
              </a:ext>
            </a:extLst>
          </p:cNvPr>
          <p:cNvSpPr/>
          <p:nvPr userDrawn="1"/>
        </p:nvSpPr>
        <p:spPr>
          <a:xfrm>
            <a:off x="1" y="1577475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FACBECEF-96F4-495B-97F3-507EB7C28F66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r>
              <a:rPr lang="nb-NO"/>
              <a:t>, halv1, halv2, halv5, halv7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114C26A2-23E4-405F-85D9-DD9C9C54205E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5" name="addin_title" hidden="1">
            <a:extLst>
              <a:ext uri="{FF2B5EF4-FFF2-40B4-BE49-F238E27FC236}">
                <a16:creationId xmlns:a16="http://schemas.microsoft.com/office/drawing/2014/main" id="{5EC6F0C5-ECE2-4737-B2DF-8CF464166E20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421DB65A-BA84-4BFC-81D8-7771342E61A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40EF0D78-486F-42E9-A20F-95C640555A5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DA2EA4FB-50DF-4085-A18C-D17518B88B8F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2409EBBA-4570-4718-9302-6A3DA50E3B8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3996591B-A5CC-4B02-887B-B726000BC3C6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fillplaceholders</a:t>
            </a:r>
            <a:endParaRPr lang="nb-NO"/>
          </a:p>
        </p:txBody>
      </p:sp>
      <p:sp>
        <p:nvSpPr>
          <p:cNvPr id="22" name="addin_background" hidden="1">
            <a:extLst>
              <a:ext uri="{FF2B5EF4-FFF2-40B4-BE49-F238E27FC236}">
                <a16:creationId xmlns:a16="http://schemas.microsoft.com/office/drawing/2014/main" id="{C04B5D41-8647-414B-A9F9-26967E7A232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82914418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tekstbokser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E8C4F134-43A3-438E-88E2-D8FF0EDE7A13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5" y="1757498"/>
            <a:ext cx="5489213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4003BB-F04C-4A8B-BC54-5FDD5D30356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342741" y="1076623"/>
            <a:ext cx="5489213" cy="494749"/>
          </a:xfrm>
        </p:spPr>
        <p:txBody>
          <a:bodyPr/>
          <a:lstStyle>
            <a:lvl1pPr marL="0" indent="0"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A0524D80-7434-47CB-8898-52900F44078A}"/>
              </a:ext>
            </a:extLst>
          </p:cNvPr>
          <p:cNvSpPr>
            <a:spLocks noGrp="1"/>
          </p:cNvSpPr>
          <p:nvPr>
            <p:ph sz="half" idx="31"/>
          </p:nvPr>
        </p:nvSpPr>
        <p:spPr>
          <a:xfrm>
            <a:off x="6342741" y="1757498"/>
            <a:ext cx="5489213" cy="4301395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7AAA207-8E55-477B-AF05-92D6F597A5B7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A7972B2-D533-401B-8556-469D52E0F4DD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9602F61A-9452-4566-BD44-010DF25750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3374CAD7-B62E-4CF1-AD5A-43232DD10E25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5" y="1082726"/>
            <a:ext cx="5489213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/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1F56F7F2-0BBD-484C-9008-B8C0CB7D240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3" name="addin_title" hidden="1">
            <a:extLst>
              <a:ext uri="{FF2B5EF4-FFF2-40B4-BE49-F238E27FC236}">
                <a16:creationId xmlns:a16="http://schemas.microsoft.com/office/drawing/2014/main" id="{BE45413D-3777-488C-9081-98CD311209B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4" name="addin_text" hidden="1">
            <a:extLst>
              <a:ext uri="{FF2B5EF4-FFF2-40B4-BE49-F238E27FC236}">
                <a16:creationId xmlns:a16="http://schemas.microsoft.com/office/drawing/2014/main" id="{4BD0960F-BF1F-4126-A3F8-B418D42FDE7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5" name="addin_image" hidden="1">
            <a:extLst>
              <a:ext uri="{FF2B5EF4-FFF2-40B4-BE49-F238E27FC236}">
                <a16:creationId xmlns:a16="http://schemas.microsoft.com/office/drawing/2014/main" id="{C39DDD84-E44A-46C8-A71C-34C426FB8C92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6" name="addin_grouplist" hidden="1">
            <a:extLst>
              <a:ext uri="{FF2B5EF4-FFF2-40B4-BE49-F238E27FC236}">
                <a16:creationId xmlns:a16="http://schemas.microsoft.com/office/drawing/2014/main" id="{AEDE561B-E28A-4695-BEA3-2B6278A31E9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17" name="addin_logo" hidden="1">
            <a:extLst>
              <a:ext uri="{FF2B5EF4-FFF2-40B4-BE49-F238E27FC236}">
                <a16:creationId xmlns:a16="http://schemas.microsoft.com/office/drawing/2014/main" id="{2AAC8E8D-4887-45BD-9C03-DA53C4A7934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18" name="addin_fillplaceholders" hidden="1">
            <a:extLst>
              <a:ext uri="{FF2B5EF4-FFF2-40B4-BE49-F238E27FC236}">
                <a16:creationId xmlns:a16="http://schemas.microsoft.com/office/drawing/2014/main" id="{CBAE5DC2-094D-4983-A93E-68A430FDFDA5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fillplaceholders</a:t>
            </a:r>
            <a:endParaRPr lang="nb-NO"/>
          </a:p>
        </p:txBody>
      </p:sp>
      <p:sp>
        <p:nvSpPr>
          <p:cNvPr id="19" name="addin_colorlist" hidden="1">
            <a:extLst>
              <a:ext uri="{FF2B5EF4-FFF2-40B4-BE49-F238E27FC236}">
                <a16:creationId xmlns:a16="http://schemas.microsoft.com/office/drawing/2014/main" id="{9821EDDB-6D76-4A0C-A80A-8E839D9FFA7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r>
              <a:rPr lang="nb-NO"/>
              <a:t>, halv1, halv2, halv5, halv7</a:t>
            </a:r>
          </a:p>
        </p:txBody>
      </p:sp>
      <p:sp>
        <p:nvSpPr>
          <p:cNvPr id="20" name="addin_background" hidden="1">
            <a:extLst>
              <a:ext uri="{FF2B5EF4-FFF2-40B4-BE49-F238E27FC236}">
                <a16:creationId xmlns:a16="http://schemas.microsoft.com/office/drawing/2014/main" id="{F537A33B-63F9-4866-8A22-F1702265B04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12001611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høy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7679219" y="360045"/>
            <a:ext cx="4152735" cy="5325998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51192628-F328-404D-8EFE-7A0B924C214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679218" y="5870278"/>
            <a:ext cx="4152735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/>
              <a:t>Fotokreditt / Bildetekst</a:t>
            </a:r>
            <a:endParaRPr lang="en-US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E9125386-EE30-45FB-BA78-8A032E308E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3E75BE49-6169-4B52-B8E0-67F87720CC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5489214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DF549456-9E1A-4F2D-AB8B-11B375FF1CCA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5489214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2305472-2CA1-4284-9F6B-FAE83898D055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360044" y="1757499"/>
            <a:ext cx="5489214" cy="430110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/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FFC296E0-39D4-4AF3-8EEB-7A54677345E2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89F5F7C1-30CB-486A-A1AB-777F98EC9EB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146F2B9F-A380-47D0-81A1-BF6A05CCD5A3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B18746CE-F568-4AB2-858E-6BA5E8D117B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A968A5A2-9154-4A90-8322-5433B94336E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B3EE9CD2-1CBB-48EF-8EDE-E560A4F427D0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69CC9A44-6E07-4DB9-A3DF-6C14488300B1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fillplaceholders</a:t>
            </a:r>
            <a:endParaRPr lang="nb-NO"/>
          </a:p>
        </p:txBody>
      </p:sp>
      <p:sp>
        <p:nvSpPr>
          <p:cNvPr id="22" name="addin_colorlist" hidden="1">
            <a:extLst>
              <a:ext uri="{FF2B5EF4-FFF2-40B4-BE49-F238E27FC236}">
                <a16:creationId xmlns:a16="http://schemas.microsoft.com/office/drawing/2014/main" id="{216821DD-975F-4F3D-9D04-19B2277FA237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r>
              <a:rPr lang="nb-NO"/>
              <a:t>, halv1, halv2, halv5, halv7</a:t>
            </a:r>
          </a:p>
        </p:txBody>
      </p:sp>
      <p:sp>
        <p:nvSpPr>
          <p:cNvPr id="23" name="addin_background" hidden="1">
            <a:extLst>
              <a:ext uri="{FF2B5EF4-FFF2-40B4-BE49-F238E27FC236}">
                <a16:creationId xmlns:a16="http://schemas.microsoft.com/office/drawing/2014/main" id="{982A5CB8-CD5B-4CA2-8CE7-B095D5C741A5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4998618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44269EB-52A0-4947-98BF-6FDC43498788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60044" y="1082726"/>
            <a:ext cx="11471910" cy="4817312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Tx/>
              <a:buNone/>
              <a:defRPr sz="1500" b="0" i="0" u="none" cap="none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677B9B8B-41DA-40B7-A3EE-81571DB48A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A672648-934A-4F12-93E6-1D228EB528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9" name="addin_colorbox" hidden="1">
            <a:extLst>
              <a:ext uri="{FF2B5EF4-FFF2-40B4-BE49-F238E27FC236}">
                <a16:creationId xmlns:a16="http://schemas.microsoft.com/office/drawing/2014/main" id="{03278B68-CC85-45D7-BC07-7A767805E25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0" name="addin_title" hidden="1">
            <a:extLst>
              <a:ext uri="{FF2B5EF4-FFF2-40B4-BE49-F238E27FC236}">
                <a16:creationId xmlns:a16="http://schemas.microsoft.com/office/drawing/2014/main" id="{8FCE75F0-EE57-496E-8BA4-489EBB8E5AF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1" name="addin_text" hidden="1">
            <a:extLst>
              <a:ext uri="{FF2B5EF4-FFF2-40B4-BE49-F238E27FC236}">
                <a16:creationId xmlns:a16="http://schemas.microsoft.com/office/drawing/2014/main" id="{269FBB4E-8C52-436E-BA48-6940B6731E12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2" name="addin_image" hidden="1">
            <a:extLst>
              <a:ext uri="{FF2B5EF4-FFF2-40B4-BE49-F238E27FC236}">
                <a16:creationId xmlns:a16="http://schemas.microsoft.com/office/drawing/2014/main" id="{42EA8043-85A0-4D8F-8348-BA355A7B5FF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3" name="addin_grouplist" hidden="1">
            <a:extLst>
              <a:ext uri="{FF2B5EF4-FFF2-40B4-BE49-F238E27FC236}">
                <a16:creationId xmlns:a16="http://schemas.microsoft.com/office/drawing/2014/main" id="{E563CD6A-A576-44D3-8CC3-9114D591672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14" name="addin_logo" hidden="1">
            <a:extLst>
              <a:ext uri="{FF2B5EF4-FFF2-40B4-BE49-F238E27FC236}">
                <a16:creationId xmlns:a16="http://schemas.microsoft.com/office/drawing/2014/main" id="{9CF18725-D8DB-4F08-9D16-41237AACFD4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16" name="addin_fillplaceholders" hidden="1">
            <a:extLst>
              <a:ext uri="{FF2B5EF4-FFF2-40B4-BE49-F238E27FC236}">
                <a16:creationId xmlns:a16="http://schemas.microsoft.com/office/drawing/2014/main" id="{991EC08D-EFD8-4694-9D89-D08AFA1A309F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fillplaceholders</a:t>
            </a:r>
            <a:endParaRPr lang="nb-NO"/>
          </a:p>
        </p:txBody>
      </p:sp>
      <p:sp>
        <p:nvSpPr>
          <p:cNvPr id="17" name="addin_colorlist" hidden="1">
            <a:extLst>
              <a:ext uri="{FF2B5EF4-FFF2-40B4-BE49-F238E27FC236}">
                <a16:creationId xmlns:a16="http://schemas.microsoft.com/office/drawing/2014/main" id="{FD0BFB97-1416-4EB5-9378-C644C455BF7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r>
              <a:rPr lang="nb-NO"/>
              <a:t>, halv1, halv2, halv5, halv7</a:t>
            </a:r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1EE69F7B-96E4-4D08-8544-715743B31CD2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5867015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halv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80CF6147-1B60-436B-ABD0-E426D3DDF3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0" name="Text Placeholder 6" descr="Logo Universitetet i oslo">
            <a:extLst>
              <a:ext uri="{FF2B5EF4-FFF2-40B4-BE49-F238E27FC236}">
                <a16:creationId xmlns:a16="http://schemas.microsoft.com/office/drawing/2014/main" id="{36E824D8-5207-4DF5-BD9E-C1307AD980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502EFC6A-E5AE-4CDD-893A-8151185CCF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Navn Etternavn</a:t>
            </a: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38E5FEA3-8D79-4D56-9664-2703F65E1EC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74BFEE26-19F8-420D-B230-46123EBE4C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1" name="Date Placeholder 3">
            <a:extLst>
              <a:ext uri="{FF2B5EF4-FFF2-40B4-BE49-F238E27FC236}">
                <a16:creationId xmlns:a16="http://schemas.microsoft.com/office/drawing/2014/main" id="{F7CD78E4-773D-43A0-AF45-F06FF64BD1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35" name="Text Placeholder 4" descr="UiO segl">
            <a:extLst>
              <a:ext uri="{FF2B5EF4-FFF2-40B4-BE49-F238E27FC236}">
                <a16:creationId xmlns:a16="http://schemas.microsoft.com/office/drawing/2014/main" id="{F9A19FD8-51AB-4838-9B3F-0C4ED0CDF7B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6" name="addin_colorlist" hidden="1">
            <a:extLst>
              <a:ext uri="{FF2B5EF4-FFF2-40B4-BE49-F238E27FC236}">
                <a16:creationId xmlns:a16="http://schemas.microsoft.com/office/drawing/2014/main" id="{9C89DC5C-C295-4993-8094-F0B8D6618A6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27" name="addin_colorbox" hidden="1">
            <a:extLst>
              <a:ext uri="{FF2B5EF4-FFF2-40B4-BE49-F238E27FC236}">
                <a16:creationId xmlns:a16="http://schemas.microsoft.com/office/drawing/2014/main" id="{2CC73354-08EE-44A2-AB48-A462E1508E46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28" name="addin_title" hidden="1">
            <a:extLst>
              <a:ext uri="{FF2B5EF4-FFF2-40B4-BE49-F238E27FC236}">
                <a16:creationId xmlns:a16="http://schemas.microsoft.com/office/drawing/2014/main" id="{26C6DF9C-269B-4A64-898A-65E2DB4E195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29" name="addin_text" hidden="1">
            <a:extLst>
              <a:ext uri="{FF2B5EF4-FFF2-40B4-BE49-F238E27FC236}">
                <a16:creationId xmlns:a16="http://schemas.microsoft.com/office/drawing/2014/main" id="{DEF32610-8099-45EC-A831-EA132BB98DEB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30" name="addin_image" hidden="1">
            <a:extLst>
              <a:ext uri="{FF2B5EF4-FFF2-40B4-BE49-F238E27FC236}">
                <a16:creationId xmlns:a16="http://schemas.microsoft.com/office/drawing/2014/main" id="{FCBF301A-51A4-47F6-A13E-EA0C05B5707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31" name="addin_grouplist" hidden="1">
            <a:extLst>
              <a:ext uri="{FF2B5EF4-FFF2-40B4-BE49-F238E27FC236}">
                <a16:creationId xmlns:a16="http://schemas.microsoft.com/office/drawing/2014/main" id="{31339D77-A008-41C5-8746-5E52634CF5F3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32" name="addin_logo" hidden="1">
            <a:extLst>
              <a:ext uri="{FF2B5EF4-FFF2-40B4-BE49-F238E27FC236}">
                <a16:creationId xmlns:a16="http://schemas.microsoft.com/office/drawing/2014/main" id="{826D203C-01F5-46E6-8CA5-6E8C2BD4380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pic>
        <p:nvPicPr>
          <p:cNvPr id="33" name="logo_hvit" descr="UiO Segl" hidden="1">
            <a:extLst>
              <a:ext uri="{FF2B5EF4-FFF2-40B4-BE49-F238E27FC236}">
                <a16:creationId xmlns:a16="http://schemas.microsoft.com/office/drawing/2014/main" id="{D427F631-71AD-40A0-9DBF-5B89C6D6AF8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34" name="logo_sort" descr="UiO Segl" hidden="1">
            <a:extLst>
              <a:ext uri="{FF2B5EF4-FFF2-40B4-BE49-F238E27FC236}">
                <a16:creationId xmlns:a16="http://schemas.microsoft.com/office/drawing/2014/main" id="{79A0A5BE-15A5-45D3-AAD4-DA46706180E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id="{EFBE860A-1A40-435A-88FE-0EADB0DB8F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05F523C6-A45B-4665-9FA1-E4FAB65FE5E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4237730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err="1"/>
              <a:t>Underoverskrif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000989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tekstbokser med ingr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A53454CC-87E9-4EB8-A148-E8917C513AF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9B68EB7-26DD-44B0-B503-B133010AD6D9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04FE8AE5-898D-4838-B222-D9178BD5489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3871769-9C00-4F59-9847-667CD9B433BA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333840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18" name="Text Placeholder 21">
            <a:extLst>
              <a:ext uri="{FF2B5EF4-FFF2-40B4-BE49-F238E27FC236}">
                <a16:creationId xmlns:a16="http://schemas.microsoft.com/office/drawing/2014/main" id="{734C1ED4-971E-4006-9901-E3C5A2D1ADF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7F28ED8-40A8-43F5-9C35-FA0A7A4B7B0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287512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3EB74F5A-3F59-4167-9DC8-330443F355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69DB1BE3-558A-48DC-BDC0-99721DB83C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7060C8D-FB51-4745-B5BA-28C1605AFCAA}"/>
              </a:ext>
            </a:extLst>
          </p:cNvPr>
          <p:cNvSpPr>
            <a:spLocks noGrp="1"/>
          </p:cNvSpPr>
          <p:nvPr>
            <p:ph sz="quarter" idx="38"/>
          </p:nvPr>
        </p:nvSpPr>
        <p:spPr>
          <a:xfrm>
            <a:off x="360043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CBB1FA-9857-4CD5-A348-3131F0AEB2D9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4333839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F835DB0-47DB-4C8D-91B7-06E75EAC9A45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8284384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/>
          </a:p>
        </p:txBody>
      </p:sp>
      <p:sp>
        <p:nvSpPr>
          <p:cNvPr id="21" name="addin_colorbox" hidden="1">
            <a:extLst>
              <a:ext uri="{FF2B5EF4-FFF2-40B4-BE49-F238E27FC236}">
                <a16:creationId xmlns:a16="http://schemas.microsoft.com/office/drawing/2014/main" id="{85B29458-A561-422C-8B22-C9C8019F05A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22" name="addin_title" hidden="1">
            <a:extLst>
              <a:ext uri="{FF2B5EF4-FFF2-40B4-BE49-F238E27FC236}">
                <a16:creationId xmlns:a16="http://schemas.microsoft.com/office/drawing/2014/main" id="{6DA48910-8F44-454E-B43A-1B5C4C20B2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23" name="addin_text" hidden="1">
            <a:extLst>
              <a:ext uri="{FF2B5EF4-FFF2-40B4-BE49-F238E27FC236}">
                <a16:creationId xmlns:a16="http://schemas.microsoft.com/office/drawing/2014/main" id="{36112E3C-28E7-406C-A89C-679F16136B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4" name="addin_image" hidden="1">
            <a:extLst>
              <a:ext uri="{FF2B5EF4-FFF2-40B4-BE49-F238E27FC236}">
                <a16:creationId xmlns:a16="http://schemas.microsoft.com/office/drawing/2014/main" id="{6A60E72D-08B9-476D-AFC3-4789C7CAB3E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21C3A9AD-504F-4B89-8A17-FC25321E037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E4836D3F-D357-451D-AE6E-7EB69FA7FED5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0F33A6D9-8DA0-41B8-8049-5CD7B9C6A30E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fillplaceholders</a:t>
            </a:r>
            <a:endParaRPr lang="nb-NO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539226-B5F3-4B78-ACC7-33FC0BA3232C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r>
              <a:rPr lang="nb-NO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733187ED-462E-47AF-B84E-AD47047EA58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47071523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Picture Placeholder 4">
            <a:extLst>
              <a:ext uri="{FF2B5EF4-FFF2-40B4-BE49-F238E27FC236}">
                <a16:creationId xmlns:a16="http://schemas.microsoft.com/office/drawing/2014/main" id="{8DB62B9B-DA6F-4B28-8109-CB17B37FC575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360044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D77A5E11-842C-4FB6-815C-DFB3ABB6270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4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6" name="Content Placeholder 3">
            <a:extLst>
              <a:ext uri="{FF2B5EF4-FFF2-40B4-BE49-F238E27FC236}">
                <a16:creationId xmlns:a16="http://schemas.microsoft.com/office/drawing/2014/main" id="{608D3BA1-A495-4A81-AEDF-108083B425F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4" y="3466045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34" name="Picture Placeholder 4">
            <a:extLst>
              <a:ext uri="{FF2B5EF4-FFF2-40B4-BE49-F238E27FC236}">
                <a16:creationId xmlns:a16="http://schemas.microsoft.com/office/drawing/2014/main" id="{8DBA5C73-7C13-4B90-AB3C-33800055D04C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19317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A5F10688-3BD3-4100-93E4-DF84C9CFDBE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19317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3F640CBC-9652-48BE-BF08-FD238D950C8A}"/>
              </a:ext>
            </a:extLst>
          </p:cNvPr>
          <p:cNvSpPr>
            <a:spLocks noGrp="1"/>
          </p:cNvSpPr>
          <p:nvPr>
            <p:ph sz="half" idx="26"/>
          </p:nvPr>
        </p:nvSpPr>
        <p:spPr>
          <a:xfrm>
            <a:off x="4319318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24" name="Picture Placeholder 4">
            <a:extLst>
              <a:ext uri="{FF2B5EF4-FFF2-40B4-BE49-F238E27FC236}">
                <a16:creationId xmlns:a16="http://schemas.microsoft.com/office/drawing/2014/main" id="{A93925D5-5699-4BE0-AEE8-00634046ACBA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255658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7F0F2B16-0190-4211-A226-C7673C0595F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55658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8255659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536D8A58-B677-4BBF-8564-3532CB713F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15333E61-2FC3-40D9-82CA-9B321075AF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19" name="addin_colorbox" hidden="1">
            <a:extLst>
              <a:ext uri="{FF2B5EF4-FFF2-40B4-BE49-F238E27FC236}">
                <a16:creationId xmlns:a16="http://schemas.microsoft.com/office/drawing/2014/main" id="{8CF651E2-DD60-4E17-88DC-C480178AFF5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011245F7-98B6-4B20-8174-39F84E37606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EF2396E3-07AF-47C0-BEC4-D981BDC140A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2" name="addin_image" hidden="1">
            <a:extLst>
              <a:ext uri="{FF2B5EF4-FFF2-40B4-BE49-F238E27FC236}">
                <a16:creationId xmlns:a16="http://schemas.microsoft.com/office/drawing/2014/main" id="{70F848C3-1BE5-4A26-AC5E-2192AC85CDF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CCBBBF12-7B28-49C5-B8F6-E0FB7DE6EC0C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353CF5D9-1BFC-418E-90A2-3300A6EAE3EE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30BAAD75-8F68-4A50-98F1-FAB2F09878E0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fillplaceholders</a:t>
            </a:r>
            <a:endParaRPr lang="nb-NO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18083F-C741-41DF-96D3-CC32C9FA32A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r>
              <a:rPr lang="nb-NO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55AE3439-8B84-48C9-BD26-13BD97C0EA2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81845996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tekst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Text Placeholder 21">
            <a:extLst>
              <a:ext uri="{FF2B5EF4-FFF2-40B4-BE49-F238E27FC236}">
                <a16:creationId xmlns:a16="http://schemas.microsoft.com/office/drawing/2014/main" id="{B72D2E40-18A8-4D11-A79B-F130A143E05C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60043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5" name="Content Placeholder 3">
            <a:extLst>
              <a:ext uri="{FF2B5EF4-FFF2-40B4-BE49-F238E27FC236}">
                <a16:creationId xmlns:a16="http://schemas.microsoft.com/office/drawing/2014/main" id="{FBF46E5C-C7CD-4024-B778-D17BB07C10CB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3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44" name="Text Placeholder 21">
            <a:extLst>
              <a:ext uri="{FF2B5EF4-FFF2-40B4-BE49-F238E27FC236}">
                <a16:creationId xmlns:a16="http://schemas.microsoft.com/office/drawing/2014/main" id="{3E2AF5D0-334B-4117-BADC-AC9D08C21C5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303805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3" name="Content Placeholder 3">
            <a:extLst>
              <a:ext uri="{FF2B5EF4-FFF2-40B4-BE49-F238E27FC236}">
                <a16:creationId xmlns:a16="http://schemas.microsoft.com/office/drawing/2014/main" id="{542EDCC5-87FC-4341-AA76-9AE955848C54}"/>
              </a:ext>
            </a:extLst>
          </p:cNvPr>
          <p:cNvSpPr>
            <a:spLocks noGrp="1"/>
          </p:cNvSpPr>
          <p:nvPr>
            <p:ph sz="half" idx="27"/>
          </p:nvPr>
        </p:nvSpPr>
        <p:spPr>
          <a:xfrm>
            <a:off x="3303805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B6D298D6-0193-4F36-B987-5B03BFD64A7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05961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1" name="Content Placeholder 3">
            <a:extLst>
              <a:ext uri="{FF2B5EF4-FFF2-40B4-BE49-F238E27FC236}">
                <a16:creationId xmlns:a16="http://schemas.microsoft.com/office/drawing/2014/main" id="{E25FBBCD-FAB3-496C-9023-BEA9649A7EA4}"/>
              </a:ext>
            </a:extLst>
          </p:cNvPr>
          <p:cNvSpPr>
            <a:spLocks noGrp="1"/>
          </p:cNvSpPr>
          <p:nvPr>
            <p:ph sz="half" idx="25"/>
          </p:nvPr>
        </p:nvSpPr>
        <p:spPr>
          <a:xfrm>
            <a:off x="6205961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84EBD52D-9372-4482-9683-865699B9658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108118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108117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AE5EE307-16A7-4BB4-826C-FE03F2BC5A6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58AF55B9-1670-44D0-B63B-7F29554D4D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91211FBE-673D-4273-A607-B348AAB51CAD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/>
          </a:p>
        </p:txBody>
      </p:sp>
      <p:sp>
        <p:nvSpPr>
          <p:cNvPr id="18" name="addin_colorbox" hidden="1">
            <a:extLst>
              <a:ext uri="{FF2B5EF4-FFF2-40B4-BE49-F238E27FC236}">
                <a16:creationId xmlns:a16="http://schemas.microsoft.com/office/drawing/2014/main" id="{68D8861A-56FC-49BC-BC70-59F04372E49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9" name="addin_title" hidden="1">
            <a:extLst>
              <a:ext uri="{FF2B5EF4-FFF2-40B4-BE49-F238E27FC236}">
                <a16:creationId xmlns:a16="http://schemas.microsoft.com/office/drawing/2014/main" id="{3435CB16-27EC-4FA8-AFCE-C153EAACC1A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20" name="addin_text" hidden="1">
            <a:extLst>
              <a:ext uri="{FF2B5EF4-FFF2-40B4-BE49-F238E27FC236}">
                <a16:creationId xmlns:a16="http://schemas.microsoft.com/office/drawing/2014/main" id="{EAA5BB91-F0F7-40F1-B570-8C015BFB6B1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1" name="addin_image" hidden="1">
            <a:extLst>
              <a:ext uri="{FF2B5EF4-FFF2-40B4-BE49-F238E27FC236}">
                <a16:creationId xmlns:a16="http://schemas.microsoft.com/office/drawing/2014/main" id="{314857CC-CD3A-4093-9A62-A81D04F2173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2" name="addin_grouplist" hidden="1">
            <a:extLst>
              <a:ext uri="{FF2B5EF4-FFF2-40B4-BE49-F238E27FC236}">
                <a16:creationId xmlns:a16="http://schemas.microsoft.com/office/drawing/2014/main" id="{CD991C7D-082B-4C2A-9D04-5C93FD4BFAF9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CDE1D328-C358-480F-B3D9-0D7F90E1FCD9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F6A83423-DC11-43BA-B76B-FDF05773D562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fillplaceholders</a:t>
            </a:r>
            <a:endParaRPr lang="nb-NO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6A73BA5A-B3F5-4DE9-BB13-AF73702D706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r>
              <a:rPr lang="nb-NO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9FE72A3E-01F8-412E-8E98-2BDAA4A674B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58911089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DC80BDF2-BFAE-4432-9B71-EC93BBDB264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60043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11FE7522-682F-43A2-922B-D0B51A4624B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3" y="2790811"/>
            <a:ext cx="2736980" cy="318644"/>
          </a:xfrm>
        </p:spPr>
        <p:txBody>
          <a:bodyPr anchor="t"/>
          <a:lstStyle>
            <a:lvl1pPr marL="0" indent="0" algn="l">
              <a:buNone/>
              <a:defRPr sz="15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/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id="{480D74DD-4A50-49DD-9306-A23A22079643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3" y="3292760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388075E-3AFC-4298-92EB-455858EE4D0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286576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C5EE1A38-0897-4573-99F1-2AAFFB9267F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286576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71E44F0B-F496-4E85-AC77-361685F3DAE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286576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25" name="Picture Placeholder 4">
            <a:extLst>
              <a:ext uri="{FF2B5EF4-FFF2-40B4-BE49-F238E27FC236}">
                <a16:creationId xmlns:a16="http://schemas.microsoft.com/office/drawing/2014/main" id="{3D1BDEE6-8393-45A2-903D-6459074B303C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192987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0" name="Text Placeholder 21">
            <a:extLst>
              <a:ext uri="{FF2B5EF4-FFF2-40B4-BE49-F238E27FC236}">
                <a16:creationId xmlns:a16="http://schemas.microsoft.com/office/drawing/2014/main" id="{2D7B525A-A39D-4409-889F-3E50319F94F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192987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A3C6FFF7-1BD6-4C2E-949A-7AEAD2340CC4}"/>
              </a:ext>
            </a:extLst>
          </p:cNvPr>
          <p:cNvSpPr>
            <a:spLocks noGrp="1"/>
          </p:cNvSpPr>
          <p:nvPr>
            <p:ph sz="half" idx="28"/>
          </p:nvPr>
        </p:nvSpPr>
        <p:spPr>
          <a:xfrm>
            <a:off x="6192987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9094974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22AA6F0B-4FE7-4E1E-A833-9372AA44889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094974" y="2790811"/>
            <a:ext cx="2716858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094974" y="3292761"/>
            <a:ext cx="2736980" cy="2376197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9C3F215E-98D7-4E75-AF2C-6DC421F9F5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EF847B60-F309-4884-9832-357BAAD658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24" name="addin_colorbox" hidden="1">
            <a:extLst>
              <a:ext uri="{FF2B5EF4-FFF2-40B4-BE49-F238E27FC236}">
                <a16:creationId xmlns:a16="http://schemas.microsoft.com/office/drawing/2014/main" id="{CCB23F58-B073-414A-9542-826ED845D63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31" name="addin_title" hidden="1">
            <a:extLst>
              <a:ext uri="{FF2B5EF4-FFF2-40B4-BE49-F238E27FC236}">
                <a16:creationId xmlns:a16="http://schemas.microsoft.com/office/drawing/2014/main" id="{E0B8CF1B-2796-41B4-98A5-9AA3E93611FE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32" name="addin_text" hidden="1">
            <a:extLst>
              <a:ext uri="{FF2B5EF4-FFF2-40B4-BE49-F238E27FC236}">
                <a16:creationId xmlns:a16="http://schemas.microsoft.com/office/drawing/2014/main" id="{F306296F-A7F1-41BF-B943-C7D7FA14781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33" name="addin_image" hidden="1">
            <a:extLst>
              <a:ext uri="{FF2B5EF4-FFF2-40B4-BE49-F238E27FC236}">
                <a16:creationId xmlns:a16="http://schemas.microsoft.com/office/drawing/2014/main" id="{C5CBAE70-7714-47C3-82CB-B11634DACAEB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34" name="addin_grouplist" hidden="1">
            <a:extLst>
              <a:ext uri="{FF2B5EF4-FFF2-40B4-BE49-F238E27FC236}">
                <a16:creationId xmlns:a16="http://schemas.microsoft.com/office/drawing/2014/main" id="{99881E91-E858-4E37-8704-3C1818D3175A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35" name="addin_logo" hidden="1">
            <a:extLst>
              <a:ext uri="{FF2B5EF4-FFF2-40B4-BE49-F238E27FC236}">
                <a16:creationId xmlns:a16="http://schemas.microsoft.com/office/drawing/2014/main" id="{D574164F-9CA4-4A10-8C31-D4E2B17D20C6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36" name="addin_fillplaceholders" hidden="1">
            <a:extLst>
              <a:ext uri="{FF2B5EF4-FFF2-40B4-BE49-F238E27FC236}">
                <a16:creationId xmlns:a16="http://schemas.microsoft.com/office/drawing/2014/main" id="{36B7DCBD-44E1-493E-85B0-E828E93D937C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fillplaceholders</a:t>
            </a:r>
            <a:endParaRPr lang="nb-NO"/>
          </a:p>
        </p:txBody>
      </p:sp>
      <p:sp>
        <p:nvSpPr>
          <p:cNvPr id="37" name="addin_colorlist" hidden="1">
            <a:extLst>
              <a:ext uri="{FF2B5EF4-FFF2-40B4-BE49-F238E27FC236}">
                <a16:creationId xmlns:a16="http://schemas.microsoft.com/office/drawing/2014/main" id="{E563F0D4-11F4-42DD-9931-F4F51432C39A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r>
              <a:rPr lang="nb-NO"/>
              <a:t>, halv1, halv2, halv5, halv7</a:t>
            </a:r>
          </a:p>
        </p:txBody>
      </p:sp>
      <p:sp>
        <p:nvSpPr>
          <p:cNvPr id="38" name="addin_background" hidden="1">
            <a:extLst>
              <a:ext uri="{FF2B5EF4-FFF2-40B4-BE49-F238E27FC236}">
                <a16:creationId xmlns:a16="http://schemas.microsoft.com/office/drawing/2014/main" id="{6A47E99E-21A0-4BFE-92CC-423622BC33AB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02899497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bil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D0001077-9CBF-4E3B-BC21-E948C160E96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60044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41D3FFA-A749-48E7-93B6-E3608A598D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0045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/>
              <a:t>Fotokreditt / Bildetekst</a:t>
            </a:r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B89F89F-F92D-4257-8097-9A576478EB5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220199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BD368394-9DFE-49F7-8B3A-C5D11ABAF3C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20199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/>
              <a:t>Fotokreditt / Bildetekst</a:t>
            </a:r>
            <a:endParaRPr lang="en-US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E78C22F4-77A5-4B84-BD5E-2A59A32FB5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FAE41322-259C-45E1-8EBA-CD9AEBC31A7F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4C2A117-22FA-459F-976D-25DB69F158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547B788B-9E9A-45A9-B357-364F5972A24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/>
          </a:p>
        </p:txBody>
      </p:sp>
      <p:sp>
        <p:nvSpPr>
          <p:cNvPr id="15" name="addin_colorlist" hidden="1">
            <a:extLst>
              <a:ext uri="{FF2B5EF4-FFF2-40B4-BE49-F238E27FC236}">
                <a16:creationId xmlns:a16="http://schemas.microsoft.com/office/drawing/2014/main" id="{12E1D021-9BB6-483B-B0CA-ABB02941583E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endParaRPr lang="nb-NO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AE6A6AFF-72F2-4BDB-94A3-D92B38AC6AE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1390369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37AE244-E30D-4FB2-98A6-B9EC37B05A95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60043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CA0C917-5130-4608-85A6-627EB2AFD5D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33839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0C61C4C-3830-4483-B223-21FD6F02122E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8287512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BBD9063C-F778-46E7-8697-C72B9C1AA8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21">
            <a:extLst>
              <a:ext uri="{FF2B5EF4-FFF2-40B4-BE49-F238E27FC236}">
                <a16:creationId xmlns:a16="http://schemas.microsoft.com/office/drawing/2014/main" id="{BCBAFB08-AF77-436F-9BD6-4080968E01E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3" name="Text Placeholder 21">
            <a:extLst>
              <a:ext uri="{FF2B5EF4-FFF2-40B4-BE49-F238E27FC236}">
                <a16:creationId xmlns:a16="http://schemas.microsoft.com/office/drawing/2014/main" id="{C92CEF28-9974-4654-BC4B-16683224EB2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74EB04B7-23CB-400A-AA85-FD8B359FC6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1457E567-3EF4-4752-87D8-A632A0518A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18" name="addin_colorlist" hidden="1">
            <a:extLst>
              <a:ext uri="{FF2B5EF4-FFF2-40B4-BE49-F238E27FC236}">
                <a16:creationId xmlns:a16="http://schemas.microsoft.com/office/drawing/2014/main" id="{192BE3FC-33A9-40BC-A479-57A961956F2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endParaRPr lang="nb-NO"/>
          </a:p>
        </p:txBody>
      </p:sp>
      <p:sp>
        <p:nvSpPr>
          <p:cNvPr id="19" name="addin_background" hidden="1">
            <a:extLst>
              <a:ext uri="{FF2B5EF4-FFF2-40B4-BE49-F238E27FC236}">
                <a16:creationId xmlns:a16="http://schemas.microsoft.com/office/drawing/2014/main" id="{0622262C-05D6-4FA9-AC81-A220F534330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10921212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ort bilde utfyll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0" y="1262748"/>
            <a:ext cx="12192000" cy="5595252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5" name="Text Placeholder 4" descr="Logo Universitetet i oslo">
            <a:extLst>
              <a:ext uri="{FF2B5EF4-FFF2-40B4-BE49-F238E27FC236}">
                <a16:creationId xmlns:a16="http://schemas.microsoft.com/office/drawing/2014/main" id="{47006D2C-998F-4DB7-B481-B9B3DCDC0DA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61FD05B-C54B-4336-9FA5-A6AE69EA83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6" name="addin_colorlist" hidden="1">
            <a:extLst>
              <a:ext uri="{FF2B5EF4-FFF2-40B4-BE49-F238E27FC236}">
                <a16:creationId xmlns:a16="http://schemas.microsoft.com/office/drawing/2014/main" id="{9A57ABF8-B03C-45E1-8D60-C254AB41F39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endParaRPr lang="nb-NO"/>
          </a:p>
        </p:txBody>
      </p:sp>
      <p:sp>
        <p:nvSpPr>
          <p:cNvPr id="8" name="addin_background" hidden="1">
            <a:extLst>
              <a:ext uri="{FF2B5EF4-FFF2-40B4-BE49-F238E27FC236}">
                <a16:creationId xmlns:a16="http://schemas.microsoft.com/office/drawing/2014/main" id="{055166DC-2EAE-49E7-B441-171CC1D8ADC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055543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8BD289F-AA6B-4FB2-A81B-530238144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AD1492D-B242-4BDE-940A-6ED6C625F8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D3E5644C-DB70-4CBC-AC2B-038E4820ABB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endParaRPr lang="nb-NO"/>
          </a:p>
        </p:txBody>
      </p:sp>
      <p:sp>
        <p:nvSpPr>
          <p:cNvPr id="5" name="addin_background" hidden="1">
            <a:extLst>
              <a:ext uri="{FF2B5EF4-FFF2-40B4-BE49-F238E27FC236}">
                <a16:creationId xmlns:a16="http://schemas.microsoft.com/office/drawing/2014/main" id="{3749FA81-9AD1-411B-9F14-0795464A48C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7498942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BD2161-D85B-4756-B8EA-E4BF0E24C7DB}" type="datetimeFigureOut">
              <a:rPr lang="en-US" smtClean="0"/>
              <a:t>10/13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7F4C86-D27F-4349-B020-AF3AAF844D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115205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BD2161-D85B-4756-B8EA-E4BF0E24C7DB}" type="datetimeFigureOut">
              <a:rPr lang="en-US" smtClean="0"/>
              <a:t>10/13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7F4C86-D27F-4349-B020-AF3AAF844D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082294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fullbredde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659A8DBD-BD7A-4EDC-B67F-D66D4E02E6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12355"/>
            <a:ext cx="10343114" cy="6833287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B8534B2-2B3C-45E4-A5C6-20DB83FC5B61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846263" y="12356"/>
            <a:ext cx="10345737" cy="6832943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184891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37" name="Text Placeholder 6" descr="Logo Universitetet i oslo">
            <a:extLst>
              <a:ext uri="{FF2B5EF4-FFF2-40B4-BE49-F238E27FC236}">
                <a16:creationId xmlns:a16="http://schemas.microsoft.com/office/drawing/2014/main" id="{F29784C4-AE21-4452-BCC9-BC75C914498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86112" y="381854"/>
            <a:ext cx="5619582" cy="1116919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39" name="Title 6">
            <a:extLst>
              <a:ext uri="{FF2B5EF4-FFF2-40B4-BE49-F238E27FC236}">
                <a16:creationId xmlns:a16="http://schemas.microsoft.com/office/drawing/2014/main" id="{5D15D34C-2B62-4A4C-AEE9-82137A8B1D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40" name="Subtitle 2">
            <a:extLst>
              <a:ext uri="{FF2B5EF4-FFF2-40B4-BE49-F238E27FC236}">
                <a16:creationId xmlns:a16="http://schemas.microsoft.com/office/drawing/2014/main" id="{291ADE13-A8F2-46E2-995A-5B5A00B970C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Navn Etternavn</a:t>
            </a:r>
          </a:p>
        </p:txBody>
      </p:sp>
      <p:sp>
        <p:nvSpPr>
          <p:cNvPr id="42" name="Text Placeholder 8">
            <a:extLst>
              <a:ext uri="{FF2B5EF4-FFF2-40B4-BE49-F238E27FC236}">
                <a16:creationId xmlns:a16="http://schemas.microsoft.com/office/drawing/2014/main" id="{7E6BC4FE-C55B-40DF-BE2C-B4A366CA9E9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43" name="Text Placeholder 8">
            <a:extLst>
              <a:ext uri="{FF2B5EF4-FFF2-40B4-BE49-F238E27FC236}">
                <a16:creationId xmlns:a16="http://schemas.microsoft.com/office/drawing/2014/main" id="{2A5C5038-A44D-4A5A-B6E6-4A3A6640788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41" name="Date Placeholder 3">
            <a:extLst>
              <a:ext uri="{FF2B5EF4-FFF2-40B4-BE49-F238E27FC236}">
                <a16:creationId xmlns:a16="http://schemas.microsoft.com/office/drawing/2014/main" id="{6D771372-9AD5-430D-A81A-2E8203086FD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>
              <a:highlight>
                <a:srgbClr val="FFFFFF"/>
              </a:highlight>
            </a:endParaRPr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17DA3A3C-41C9-4BB1-8AF6-64A31B42E6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49401EE1-2446-4FF1-9952-199B1AD33AA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7838A1EF-4F8F-4E02-84A8-CBDE742A016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1520438F-077B-4383-9B2E-BA087AF71C6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AA4849A-5DB1-449C-B5F9-8D23CAAC0678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6FF82BAB-E28F-4E02-86D8-FEDC0BED1A1D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EA3D402A-5E41-4E74-BCFE-6ECD172AE4E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26" name="addin_colorbox" hidden="1">
            <a:extLst>
              <a:ext uri="{FF2B5EF4-FFF2-40B4-BE49-F238E27FC236}">
                <a16:creationId xmlns:a16="http://schemas.microsoft.com/office/drawing/2014/main" id="{B21C5878-1C16-4124-B18E-3FD702004B13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27" name="addin_title" hidden="1">
            <a:extLst>
              <a:ext uri="{FF2B5EF4-FFF2-40B4-BE49-F238E27FC236}">
                <a16:creationId xmlns:a16="http://schemas.microsoft.com/office/drawing/2014/main" id="{25090456-9625-456B-9BF8-33469B9C80F5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28" name="addin_text" hidden="1">
            <a:extLst>
              <a:ext uri="{FF2B5EF4-FFF2-40B4-BE49-F238E27FC236}">
                <a16:creationId xmlns:a16="http://schemas.microsoft.com/office/drawing/2014/main" id="{335F99C5-F1AA-4F79-BB95-80F64E93637D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9" name="addin_image" hidden="1">
            <a:extLst>
              <a:ext uri="{FF2B5EF4-FFF2-40B4-BE49-F238E27FC236}">
                <a16:creationId xmlns:a16="http://schemas.microsoft.com/office/drawing/2014/main" id="{8F68B54B-8B5A-4C05-93DB-7F2DC877EF5E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30" name="addin_grouplist" hidden="1">
            <a:extLst>
              <a:ext uri="{FF2B5EF4-FFF2-40B4-BE49-F238E27FC236}">
                <a16:creationId xmlns:a16="http://schemas.microsoft.com/office/drawing/2014/main" id="{F2089761-1A50-4072-9872-C62B5CA9E1F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pic>
        <p:nvPicPr>
          <p:cNvPr id="31" name="logo_hvit" descr="UiO Segl" hidden="1">
            <a:extLst>
              <a:ext uri="{FF2B5EF4-FFF2-40B4-BE49-F238E27FC236}">
                <a16:creationId xmlns:a16="http://schemas.microsoft.com/office/drawing/2014/main" id="{27B17C39-2B30-4789-8BEA-4AE4B2320B7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785613" y="5458074"/>
            <a:ext cx="1025436" cy="1025436"/>
          </a:xfrm>
          <a:prstGeom prst="rect">
            <a:avLst/>
          </a:prstGeom>
        </p:spPr>
      </p:pic>
      <p:pic>
        <p:nvPicPr>
          <p:cNvPr id="32" name="logo_sort" descr="UiO segl" hidden="1">
            <a:extLst>
              <a:ext uri="{FF2B5EF4-FFF2-40B4-BE49-F238E27FC236}">
                <a16:creationId xmlns:a16="http://schemas.microsoft.com/office/drawing/2014/main" id="{46600C4D-987E-4F2B-917A-380F2324CB51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785613" y="5456640"/>
            <a:ext cx="1025421" cy="1025421"/>
          </a:xfrm>
          <a:prstGeom prst="rect">
            <a:avLst/>
          </a:prstGeom>
        </p:spPr>
      </p:pic>
      <p:sp>
        <p:nvSpPr>
          <p:cNvPr id="34" name="addin_logo" hidden="1">
            <a:extLst>
              <a:ext uri="{FF2B5EF4-FFF2-40B4-BE49-F238E27FC236}">
                <a16:creationId xmlns:a16="http://schemas.microsoft.com/office/drawing/2014/main" id="{E5963F14-DFC9-40C0-BCD0-4A837E431DF5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35" name="addin_colorlist" hidden="1">
            <a:extLst>
              <a:ext uri="{FF2B5EF4-FFF2-40B4-BE49-F238E27FC236}">
                <a16:creationId xmlns:a16="http://schemas.microsoft.com/office/drawing/2014/main" id="{B73620FB-5D82-4728-A1F9-C75D53925FBA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kapfor1, kapfor4, kapfor5, kapfor6, kapfor7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09EEDD50-63E6-41B4-83C0-DB199267B4E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err="1"/>
              <a:t>Underoverskrif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124761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BD2161-D85B-4756-B8EA-E4BF0E24C7DB}" type="datetimeFigureOut">
              <a:rPr lang="en-US" smtClean="0"/>
              <a:t>10/13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7F4C86-D27F-4349-B020-AF3AAF844D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728543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BD2161-D85B-4756-B8EA-E4BF0E24C7DB}" type="datetimeFigureOut">
              <a:rPr lang="en-US" smtClean="0"/>
              <a:t>10/13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7F4C86-D27F-4349-B020-AF3AAF844D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137315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BD2161-D85B-4756-B8EA-E4BF0E24C7DB}" type="datetimeFigureOut">
              <a:rPr lang="en-US" smtClean="0"/>
              <a:t>10/13/202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7F4C86-D27F-4349-B020-AF3AAF844D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739781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BD2161-D85B-4756-B8EA-E4BF0E24C7DB}" type="datetimeFigureOut">
              <a:rPr lang="en-US" smtClean="0"/>
              <a:t>10/13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7F4C86-D27F-4349-B020-AF3AAF844D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716403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BD2161-D85B-4756-B8EA-E4BF0E24C7DB}" type="datetimeFigureOut">
              <a:rPr lang="en-US" smtClean="0"/>
              <a:t>10/13/2022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7F4C86-D27F-4349-B020-AF3AAF844D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82626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BD2161-D85B-4756-B8EA-E4BF0E24C7DB}" type="datetimeFigureOut">
              <a:rPr lang="en-US" smtClean="0"/>
              <a:t>10/13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7F4C86-D27F-4349-B020-AF3AAF844D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383160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BD2161-D85B-4756-B8EA-E4BF0E24C7DB}" type="datetimeFigureOut">
              <a:rPr lang="en-US" smtClean="0"/>
              <a:t>10/13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7F4C86-D27F-4349-B020-AF3AAF844D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294942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BD2161-D85B-4756-B8EA-E4BF0E24C7DB}" type="datetimeFigureOut">
              <a:rPr lang="en-US" smtClean="0"/>
              <a:t>10/13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7F4C86-D27F-4349-B020-AF3AAF844D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305687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BD2161-D85B-4756-B8EA-E4BF0E24C7DB}" type="datetimeFigureOut">
              <a:rPr lang="en-US" smtClean="0"/>
              <a:t>10/13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7F4C86-D27F-4349-B020-AF3AAF844D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693372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ullbredde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0"/>
            <a:ext cx="10343114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848885" y="0"/>
            <a:ext cx="10343115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>
              <a:highlight>
                <a:srgbClr val="FFFFFF"/>
              </a:highlight>
            </a:endParaRPr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err="1"/>
              <a:t>Underoverskrif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50289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ullbredde UiO Innhold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0" y="0"/>
            <a:ext cx="12188597" cy="69469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0" y="0"/>
            <a:ext cx="12192000" cy="69469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>
              <a:highlight>
                <a:srgbClr val="FFFFFF"/>
              </a:highlight>
            </a:endParaRPr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err="1"/>
              <a:t>Underoverskrif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49302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fakultet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FDE277A-D1D4-46F7-9ED8-7C20DEB74C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06249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9" imgH="343" progId="TCLayout.ActiveDocument.1">
                  <p:embed/>
                </p:oleObj>
              </mc:Choice>
              <mc:Fallback>
                <p:oleObj name="think-cell Slide" r:id="rId3" imgW="339" imgH="34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FDE277A-D1D4-46F7-9ED8-7C20DEB74C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A84D768E-AC85-41DD-B1B7-0298BF33163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/>
              <a:t>Velg fakultet fra </a:t>
            </a:r>
            <a:r>
              <a:rPr lang="nb-NO" noProof="0" err="1"/>
              <a:t>nedtrekksmenyen</a:t>
            </a:r>
            <a:endParaRPr lang="en-US" noProof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E17BAB58-FE9E-48CD-90C1-5A92CD4AF34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D1011A16-94DD-4043-A614-BEC724B6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BC09F072-DFF2-42B8-9221-578EE194D0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3BBDCC2B-F1B3-4493-BC07-8FE83C70C0E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pic>
        <p:nvPicPr>
          <p:cNvPr id="24" name="Graphic 23" descr="UiO segl">
            <a:extLst>
              <a:ext uri="{FF2B5EF4-FFF2-40B4-BE49-F238E27FC236}">
                <a16:creationId xmlns:a16="http://schemas.microsoft.com/office/drawing/2014/main" id="{EC3480BC-2C3D-4A7E-9C52-40E1CC216EE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9C5D506-67A5-4F89-8560-22F43BCF74A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16" name="addin_colorbox" hidden="1">
            <a:extLst>
              <a:ext uri="{FF2B5EF4-FFF2-40B4-BE49-F238E27FC236}">
                <a16:creationId xmlns:a16="http://schemas.microsoft.com/office/drawing/2014/main" id="{FCA3E1BC-B669-4110-87EA-FAF1FA6121DD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7" name="addin_title" hidden="1">
            <a:extLst>
              <a:ext uri="{FF2B5EF4-FFF2-40B4-BE49-F238E27FC236}">
                <a16:creationId xmlns:a16="http://schemas.microsoft.com/office/drawing/2014/main" id="{3ED724C7-6D8D-4B02-A942-476103665D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8" name="addin_text" hidden="1">
            <a:extLst>
              <a:ext uri="{FF2B5EF4-FFF2-40B4-BE49-F238E27FC236}">
                <a16:creationId xmlns:a16="http://schemas.microsoft.com/office/drawing/2014/main" id="{3875A1F9-BE97-453C-A6D3-C2B80FB26DA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9" name="addin_image" hidden="1">
            <a:extLst>
              <a:ext uri="{FF2B5EF4-FFF2-40B4-BE49-F238E27FC236}">
                <a16:creationId xmlns:a16="http://schemas.microsoft.com/office/drawing/2014/main" id="{B74C45E3-A0CF-4E11-99D4-B0A97B5ECA6D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0" name="addin_grouplist" hidden="1">
            <a:extLst>
              <a:ext uri="{FF2B5EF4-FFF2-40B4-BE49-F238E27FC236}">
                <a16:creationId xmlns:a16="http://schemas.microsoft.com/office/drawing/2014/main" id="{E863661C-B13F-46BB-BA71-469E9D5AB327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6B15E5D0-41F1-4B95-AEBC-8FEF29F24DE4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49182013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akulte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C57EEA8-87A3-4F4A-8A88-C8CF94340B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95528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9" imgH="343" progId="TCLayout.ActiveDocument.1">
                  <p:embed/>
                </p:oleObj>
              </mc:Choice>
              <mc:Fallback>
                <p:oleObj name="think-cell Slide" r:id="rId3" imgW="339" imgH="34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C57EEA8-87A3-4F4A-8A88-C8CF94340B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/>
              <a:t>Velg fakultet fra </a:t>
            </a:r>
            <a:r>
              <a:rPr lang="nb-NO" noProof="0" err="1"/>
              <a:t>nedtrekksmenyen</a:t>
            </a:r>
            <a:endParaRPr lang="en-US" noProof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0FDCF8F-A008-4CFD-BFC2-4B8B6F9B51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2127E9DC-8728-47D2-950F-5610AB44AE5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12AB716-EA8C-40F3-9E5E-FADFDE5B68A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4" name="Date Placeholder 3">
            <a:extLst>
              <a:ext uri="{FF2B5EF4-FFF2-40B4-BE49-F238E27FC236}">
                <a16:creationId xmlns:a16="http://schemas.microsoft.com/office/drawing/2014/main" id="{C0D51CD3-9F1B-45C4-9816-FCEC12A47AF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pic>
        <p:nvPicPr>
          <p:cNvPr id="28" name="Graphic 27" descr="UiO segl">
            <a:extLst>
              <a:ext uri="{FF2B5EF4-FFF2-40B4-BE49-F238E27FC236}">
                <a16:creationId xmlns:a16="http://schemas.microsoft.com/office/drawing/2014/main" id="{AECCD3CC-AC27-4207-85D4-8056C1F5FDD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366813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akulte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16BE45C5-2FD6-4365-884E-E7211BA9F8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FC80015-4906-4750-9E68-18BCB837A81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15063" y="0"/>
            <a:ext cx="5976937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B116A28A-122D-47FC-B20F-2DE6D034FB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err="1">
                <a:latin typeface="Arial, sans-serif"/>
              </a:rPr>
              <a:t>Velg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akultet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ra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nedtrekksmenyen</a:t>
            </a:r>
            <a:endParaRPr lang="nb-NO" noProof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5634" y="2283763"/>
            <a:ext cx="5075367" cy="1650530"/>
          </a:xfrm>
        </p:spPr>
        <p:txBody>
          <a:bodyPr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16F080F3-F66D-44E1-A274-51E675B7D76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B993451-3DED-457B-B2BA-C0AD678BC4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E4C943B6-9D87-4707-9BC0-AB5D348B81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9138817D-ECF3-4F24-AB4D-EE86A7D38E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E981D0C6-9965-4EA6-835B-007DA74548C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1" name="addin_colorlist" hidden="1">
            <a:extLst>
              <a:ext uri="{FF2B5EF4-FFF2-40B4-BE49-F238E27FC236}">
                <a16:creationId xmlns:a16="http://schemas.microsoft.com/office/drawing/2014/main" id="{FB8D8BF6-D27B-473E-8C7F-5564EC4E8842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AEA2A8D1-CC8A-49D7-B5F3-4D3D31E797B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FA762AA7-0630-463D-983A-714A0FDC6D6B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BADFE346-6D41-462E-B93E-8A458125843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2F05EFBC-3D55-4A55-AC99-18A584A64FD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22529F69-78C3-4EA5-A8EF-DAED9CFEB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26D5A990-E30B-4E3A-A5A7-8F106A934EC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760581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63D537D-BDA7-442F-85CC-77B15D3E9EBA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EA343E91-A7F8-411F-8D9E-AD0CD04545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err="1">
                <a:latin typeface="Arial, sans-serif"/>
              </a:rPr>
              <a:t>Velg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akultet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ra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nedtrekksmenyen</a:t>
            </a:r>
            <a:endParaRPr lang="nb-NO" noProof="0"/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9353483E-A81E-4295-A996-3D67CCCC2E0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A0F37DB2-E675-4E63-AD01-1D4996198F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AF5E8745-EB5B-4C17-A308-AC6088BCA61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7CB7E83F-937E-4B9E-830A-492432F3A4E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B8980526-4F9F-495D-A07D-8D82934AE66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9BE98BF2-9E12-4468-BCAE-2A3B441A6E8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5691721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3.sv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5" Type="http://schemas.openxmlformats.org/officeDocument/2006/relationships/slideLayout" Target="../slideLayouts/slideLayout32.xml"/><Relationship Id="rId10" Type="http://schemas.openxmlformats.org/officeDocument/2006/relationships/slideLayout" Target="../slideLayouts/slideLayout37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22D069C-C025-484F-B809-F6C0328593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2801709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0" imgW="339" imgH="343" progId="TCLayout.ActiveDocument.1">
                  <p:embed/>
                </p:oleObj>
              </mc:Choice>
              <mc:Fallback>
                <p:oleObj name="think-cell Slide" r:id="rId30" imgW="339" imgH="34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22D069C-C025-484F-B809-F6C0328593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94432" y="-180924"/>
            <a:ext cx="10515600" cy="13255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2529" y="1711312"/>
            <a:ext cx="5563433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0" y="626352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66367" y="6263528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rgbClr val="524B48"/>
                </a:solidFill>
              </a:defRPr>
            </a:lvl1pPr>
          </a:lstStyle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Graphic 10" descr="Logo Universitet i oslo">
            <a:extLst>
              <a:ext uri="{FF2B5EF4-FFF2-40B4-BE49-F238E27FC236}">
                <a16:creationId xmlns:a16="http://schemas.microsoft.com/office/drawing/2014/main" id="{C0E4FBEC-28F7-4C61-8732-186A1AAD3429}"/>
              </a:ext>
            </a:extLst>
          </p:cNvPr>
          <p:cNvPicPr>
            <a:picLocks noChangeAspect="1"/>
          </p:cNvPicPr>
          <p:nvPr userDrawn="1"/>
        </p:nvPicPr>
        <p:blipFill>
          <a:blip r:embed="rId32">
            <a:extLs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381001" y="6280142"/>
            <a:ext cx="1021262" cy="202980"/>
          </a:xfrm>
          <a:prstGeom prst="rect">
            <a:avLst/>
          </a:prstGeom>
        </p:spPr>
      </p:pic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45F9D6C5-6F73-4568-92A3-43149586B0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8" name="addin_colorpicker" hidden="1">
            <a:extLst>
              <a:ext uri="{FF2B5EF4-FFF2-40B4-BE49-F238E27FC236}">
                <a16:creationId xmlns:a16="http://schemas.microsoft.com/office/drawing/2014/main" id="{EC6BC642-49C3-4139-8F38-A96E75EE0920}"/>
              </a:ext>
            </a:extLst>
          </p:cNvPr>
          <p:cNvSpPr/>
          <p:nvPr userDrawn="1"/>
        </p:nvSpPr>
        <p:spPr>
          <a:xfrm>
            <a:off x="2486668" y="-1436292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addin_colorpicker</a:t>
            </a:r>
          </a:p>
        </p:txBody>
      </p:sp>
    </p:spTree>
    <p:extLst>
      <p:ext uri="{BB962C8B-B14F-4D97-AF65-F5344CB8AC3E}">
        <p14:creationId xmlns:p14="http://schemas.microsoft.com/office/powerpoint/2010/main" val="33922868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4" r:id="rId1"/>
    <p:sldLayoutId id="2147483735" r:id="rId2"/>
    <p:sldLayoutId id="2147483736" r:id="rId3"/>
    <p:sldLayoutId id="2147483737" r:id="rId4"/>
    <p:sldLayoutId id="2147483741" r:id="rId5"/>
    <p:sldLayoutId id="2147483738" r:id="rId6"/>
    <p:sldLayoutId id="2147483739" r:id="rId7"/>
    <p:sldLayoutId id="2147483740" r:id="rId8"/>
    <p:sldLayoutId id="2147483733" r:id="rId9"/>
    <p:sldLayoutId id="2147483720" r:id="rId10"/>
    <p:sldLayoutId id="2147483719" r:id="rId11"/>
    <p:sldLayoutId id="2147483701" r:id="rId12"/>
    <p:sldLayoutId id="2147483702" r:id="rId13"/>
    <p:sldLayoutId id="2147483704" r:id="rId14"/>
    <p:sldLayoutId id="2147483706" r:id="rId15"/>
    <p:sldLayoutId id="2147483716" r:id="rId16"/>
    <p:sldLayoutId id="2147483717" r:id="rId17"/>
    <p:sldLayoutId id="2147483713" r:id="rId18"/>
    <p:sldLayoutId id="2147483714" r:id="rId19"/>
    <p:sldLayoutId id="2147483709" r:id="rId20"/>
    <p:sldLayoutId id="2147483710" r:id="rId21"/>
    <p:sldLayoutId id="2147483711" r:id="rId22"/>
    <p:sldLayoutId id="2147483712" r:id="rId23"/>
    <p:sldLayoutId id="2147483707" r:id="rId24"/>
    <p:sldLayoutId id="2147483708" r:id="rId25"/>
    <p:sldLayoutId id="2147483715" r:id="rId26"/>
    <p:sldLayoutId id="2147483718" r:id="rId27"/>
  </p:sldLayoutIdLst>
  <p:hf hdr="0"/>
  <p:txStyles>
    <p:titleStyle>
      <a:lvl1pPr algn="l" defTabSz="914446" rtl="0" eaLnBrk="1" latinLnBrk="0" hangingPunct="1">
        <a:lnSpc>
          <a:spcPct val="90000"/>
        </a:lnSpc>
        <a:spcBef>
          <a:spcPct val="0"/>
        </a:spcBef>
        <a:buNone/>
        <a:defRPr sz="35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914446" rtl="0" eaLnBrk="1" latinLnBrk="0" hangingPunct="1">
        <a:lnSpc>
          <a:spcPct val="100000"/>
        </a:lnSpc>
        <a:spcBef>
          <a:spcPts val="1150"/>
        </a:spcBef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34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57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80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503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726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948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171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394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9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1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FBD2161-D85B-4756-B8EA-E4BF0E24C7DB}" type="datetimeFigureOut">
              <a:rPr lang="en-US" smtClean="0"/>
              <a:t>10/13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37F4C86-D27F-4349-B020-AF3AAF844D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6899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26" r:id="rId5"/>
    <p:sldLayoutId id="2147483727" r:id="rId6"/>
    <p:sldLayoutId id="2147483728" r:id="rId7"/>
    <p:sldLayoutId id="2147483729" r:id="rId8"/>
    <p:sldLayoutId id="2147483730" r:id="rId9"/>
    <p:sldLayoutId id="2147483731" r:id="rId10"/>
    <p:sldLayoutId id="2147483732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mailto:tarjeibr@ikos.uio.no" TargetMode="External"/><Relationship Id="rId2" Type="http://schemas.openxmlformats.org/officeDocument/2006/relationships/hyperlink" Target="mailto:v.s.lovbakken@ikos.uio.no" TargetMode="External"/><Relationship Id="rId1" Type="http://schemas.openxmlformats.org/officeDocument/2006/relationships/slideLayout" Target="../slideLayouts/slideLayout19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mailto:f-team@ikos.uio.no" TargetMode="External"/><Relationship Id="rId2" Type="http://schemas.openxmlformats.org/officeDocument/2006/relationships/hyperlink" Target="mailto:tarjeibr@ikos.uio.no" TargetMode="External"/><Relationship Id="rId1" Type="http://schemas.openxmlformats.org/officeDocument/2006/relationships/slideLayout" Target="../slideLayouts/slideLayout19.xml"/><Relationship Id="rId4" Type="http://schemas.openxmlformats.org/officeDocument/2006/relationships/hyperlink" Target="https://nettskjema.no/a/232649#/page/1" TargetMode="Externa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openxmlformats.org/officeDocument/2006/relationships/hyperlink" Target="mailto:f-team@ikos.uio.no" TargetMode="Externa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24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uio.no/tjenester/trykk/" TargetMode="External"/><Relationship Id="rId2" Type="http://schemas.openxmlformats.org/officeDocument/2006/relationships/hyperlink" Target="https://www.uio.no/tjenester/trykk/slik-bestiller-du/index.html" TargetMode="External"/><Relationship Id="rId1" Type="http://schemas.openxmlformats.org/officeDocument/2006/relationships/slideLayout" Target="../slideLayouts/slideLayout1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uio.no/om/regelverk/eiendom/leie-lokaler/professorboligen/index.html" TargetMode="External"/><Relationship Id="rId3" Type="http://schemas.openxmlformats.org/officeDocument/2006/relationships/hyperlink" Target="https://tp.educloud.no/uio/rombestilling/" TargetMode="External"/><Relationship Id="rId7" Type="http://schemas.openxmlformats.org/officeDocument/2006/relationships/hyperlink" Target="https://www.uio.no/om/regelverk/eiendom/leie-lokaler/universitetets-aula/index.html" TargetMode="External"/><Relationship Id="rId12" Type="http://schemas.openxmlformats.org/officeDocument/2006/relationships/hyperlink" Target="mailto:innkjop@ikos.uio.no" TargetMode="External"/><Relationship Id="rId2" Type="http://schemas.openxmlformats.org/officeDocument/2006/relationships/hyperlink" Target="https://www.uio.no/om/regelverk/eiendom/leie-lokaler/bruk-av-uios-lokaler/" TargetMode="External"/><Relationship Id="rId1" Type="http://schemas.openxmlformats.org/officeDocument/2006/relationships/slideLayout" Target="../slideLayouts/slideLayout19.xml"/><Relationship Id="rId6" Type="http://schemas.openxmlformats.org/officeDocument/2006/relationships/hyperlink" Target="https://www.uio.no/for-ansatte/arbeidsstotte/rom/gsh/index.html" TargetMode="External"/><Relationship Id="rId11" Type="http://schemas.openxmlformats.org/officeDocument/2006/relationships/hyperlink" Target="mailto:arrangementer@admin.uio.no" TargetMode="External"/><Relationship Id="rId5" Type="http://schemas.openxmlformats.org/officeDocument/2006/relationships/hyperlink" Target="https://www.uio.no/om/regelverk/eiendom/leie-lokaler/niels-treschows-hus/index.html" TargetMode="External"/><Relationship Id="rId10" Type="http://schemas.openxmlformats.org/officeDocument/2006/relationships/hyperlink" Target="https://www.uio.no/om/regelverk/eiendom/leie-lokaler/gamle-festsal/index.html" TargetMode="External"/><Relationship Id="rId4" Type="http://schemas.openxmlformats.org/officeDocument/2006/relationships/hyperlink" Target="https://tp.educloud.no/uio/timeplan/?type=room" TargetMode="External"/><Relationship Id="rId9" Type="http://schemas.openxmlformats.org/officeDocument/2006/relationships/hyperlink" Target="https://www.uio.no/om/regelverk/eiendom/leie-lokaler/toyen-hovedgard/index.html" TargetMode="Externa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hyperlink" Target="mailto:tarjeibr@ikos.uio.no" TargetMode="External"/><Relationship Id="rId3" Type="http://schemas.openxmlformats.org/officeDocument/2006/relationships/hyperlink" Target="https://laeringsplattformen.dfo.no/kursoversikt/den-gylne-pennen-et-e-laeringskurs-i-klarsprak" TargetMode="External"/><Relationship Id="rId7" Type="http://schemas.openxmlformats.org/officeDocument/2006/relationships/hyperlink" Target="https://www.uio.no/for-ansatte/arbeidsstotte/profil/nettarbeid/veiledninger/bilde-lyd-video/bilder/index.html" TargetMode="External"/><Relationship Id="rId2" Type="http://schemas.openxmlformats.org/officeDocument/2006/relationships/hyperlink" Target="https://www-int.uio.no/for-ansatte/arbeidsstotte/profil/nettarbeid/opplaring/nettkurs/index.html" TargetMode="External"/><Relationship Id="rId1" Type="http://schemas.openxmlformats.org/officeDocument/2006/relationships/slideLayout" Target="../slideLayouts/slideLayout19.xml"/><Relationship Id="rId6" Type="http://schemas.openxmlformats.org/officeDocument/2006/relationships/hyperlink" Target="mailto:nettredaktor@hf.uio.no" TargetMode="External"/><Relationship Id="rId5" Type="http://schemas.openxmlformats.org/officeDocument/2006/relationships/hyperlink" Target="https://www.uio.no/for-ansatte/arbeidsstotte/profil/nettarbeid/retningslinjer/retningslinjer-for-oppsett-av-nettsteder.html" TargetMode="External"/><Relationship Id="rId4" Type="http://schemas.openxmlformats.org/officeDocument/2006/relationships/hyperlink" Target="https://laeringsplattformen.dfo.no/kursoversikt/universell-utforming-e-laeringskurs-nettredaktorer-og-skribenter" TargetMode="Externa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uio.no/for-ansatte/arbeidsstotte/arrangementsstotte/samtykke-opptak-stromming/index.html" TargetMode="External"/><Relationship Id="rId2" Type="http://schemas.openxmlformats.org/officeDocument/2006/relationships/hyperlink" Target="https://www.uio.no/for-ansatte/arbeidsstotte/profil/foto/bilder-gdpr.html" TargetMode="External"/><Relationship Id="rId1" Type="http://schemas.openxmlformats.org/officeDocument/2006/relationships/slideLayout" Target="../slideLayouts/slideLayout19.xml"/><Relationship Id="rId5" Type="http://schemas.openxmlformats.org/officeDocument/2006/relationships/hyperlink" Target="https://www.uio.no/for-ansatte/arbeidsstotte/arrangementsstotte/pameldingslister-og-lagring.html" TargetMode="External"/><Relationship Id="rId4" Type="http://schemas.openxmlformats.org/officeDocument/2006/relationships/hyperlink" Target="https://www.uio.no/for-ansatte/arbeidsstotte/profil/nettarbeid/retningslinjer/datasikkerhet.html" TargetMode="Externa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hyperlink" Target="mailto:tarjeibr@ikos.uio.no" TargetMode="External"/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uio.no/tjenester/it/sikkerhet/lsis/tillegg/lagringsguide.html" TargetMode="External"/><Relationship Id="rId3" Type="http://schemas.openxmlformats.org/officeDocument/2006/relationships/hyperlink" Target="mailto:tarjeibr@ikos.uio.no" TargetMode="External"/><Relationship Id="rId7" Type="http://schemas.openxmlformats.org/officeDocument/2006/relationships/hyperlink" Target="https://www.uio.no/tjenester/it/sikkerhet/hjelp/rapportere/rapportering.html" TargetMode="External"/><Relationship Id="rId2" Type="http://schemas.openxmlformats.org/officeDocument/2006/relationships/hyperlink" Target="https://www.uio.no/for-ansatte/arbeidsstotte/selvbetjeningsportal/ta-i-bruk-den-nye-selvbetjeningslosningen.html" TargetMode="External"/><Relationship Id="rId1" Type="http://schemas.openxmlformats.org/officeDocument/2006/relationships/slideLayout" Target="../slideLayouts/slideLayout19.xml"/><Relationship Id="rId6" Type="http://schemas.openxmlformats.org/officeDocument/2006/relationships/hyperlink" Target="https://passord.uio.no/" TargetMode="External"/><Relationship Id="rId5" Type="http://schemas.openxmlformats.org/officeDocument/2006/relationships/hyperlink" Target="https://www.uio.no/tjenester/it/maskin/programvare/programkiosk/" TargetMode="External"/><Relationship Id="rId4" Type="http://schemas.openxmlformats.org/officeDocument/2006/relationships/hyperlink" Target="mailto:innkjop@ikos.uio.no" TargetMode="Externa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uio.no/om/regelverk/personal/felles/bevertning-representasjon/" TargetMode="External"/><Relationship Id="rId2" Type="http://schemas.openxmlformats.org/officeDocument/2006/relationships/hyperlink" Target="mailto:innkjop@ikos.uio.no" TargetMode="External"/><Relationship Id="rId1" Type="http://schemas.openxmlformats.org/officeDocument/2006/relationships/slideLayout" Target="../slideLayouts/slideLayout19.xml"/><Relationship Id="rId6" Type="http://schemas.openxmlformats.org/officeDocument/2006/relationships/hyperlink" Target="https://www.uio.no/for-ansatte/arbeidsstotte/bestille/kontakt/index.html" TargetMode="External"/><Relationship Id="rId5" Type="http://schemas.openxmlformats.org/officeDocument/2006/relationships/hyperlink" Target="https://nettskjema.no/a/273970" TargetMode="External"/><Relationship Id="rId4" Type="http://schemas.openxmlformats.org/officeDocument/2006/relationships/hyperlink" Target="https://nettskjema.no/a/273947" TargetMode="Externa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uio.no/om/regelverk/personal/felles/bevertning-representasjon/#1.3" TargetMode="External"/><Relationship Id="rId2" Type="http://schemas.openxmlformats.org/officeDocument/2006/relationships/hyperlink" Target="https://www.uio.no/om/regelverk/personal/felles/bevertning-representasjon/#1.2" TargetMode="External"/><Relationship Id="rId1" Type="http://schemas.openxmlformats.org/officeDocument/2006/relationships/slideLayout" Target="../slideLayouts/slideLayout19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emf"/><Relationship Id="rId3" Type="http://schemas.openxmlformats.org/officeDocument/2006/relationships/hyperlink" Target="https://www.uio.no/om/regelverk/personal/felles/bevertning-representasjon/index.html" TargetMode="External"/><Relationship Id="rId7" Type="http://schemas.openxmlformats.org/officeDocument/2006/relationships/package" Target="../embeddings/Microsoft_Word_Document1.docx"/><Relationship Id="rId2" Type="http://schemas.openxmlformats.org/officeDocument/2006/relationships/hyperlink" Target="https://www.uio.no/for-ansatte/arbeidsstotte/arrangementsstotte/mat-servering/" TargetMode="External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22.emf"/><Relationship Id="rId5" Type="http://schemas.openxmlformats.org/officeDocument/2006/relationships/package" Target="../embeddings/Microsoft_Word_Document.docx"/><Relationship Id="rId4" Type="http://schemas.openxmlformats.org/officeDocument/2006/relationships/hyperlink" Target="https://www.uio.no/om/samarbeid/sende-faktura-til-uio/" TargetMode="Externa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uio.no/om/regelverk/personal/felles/bevertning-representasjon/#1.3" TargetMode="External"/><Relationship Id="rId2" Type="http://schemas.openxmlformats.org/officeDocument/2006/relationships/hyperlink" Target="https://www.uio.no/om/regelverk/personal/felles/bevertning-representasjon/#1.2" TargetMode="External"/><Relationship Id="rId1" Type="http://schemas.openxmlformats.org/officeDocument/2006/relationships/slideLayout" Target="../slideLayouts/slideLayout29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bilde 1">
            <a:extLst>
              <a:ext uri="{FF2B5EF4-FFF2-40B4-BE49-F238E27FC236}">
                <a16:creationId xmlns:a16="http://schemas.microsoft.com/office/drawing/2014/main" id="{ADD16B62-9E15-47DF-AD1A-5325660B220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A0529DA9-2228-4F1A-9D76-2A985879C8A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Tittel 3">
            <a:extLst>
              <a:ext uri="{FF2B5EF4-FFF2-40B4-BE49-F238E27FC236}">
                <a16:creationId xmlns:a16="http://schemas.microsoft.com/office/drawing/2014/main" id="{B78016AA-B4E0-422A-9733-93DA9CFD9A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z="3600"/>
              <a:t>Gjennomgang av rutiner for vitenskapelige assistenter</a:t>
            </a:r>
          </a:p>
        </p:txBody>
      </p:sp>
      <p:sp>
        <p:nvSpPr>
          <p:cNvPr id="5" name="Undertittel 4">
            <a:extLst>
              <a:ext uri="{FF2B5EF4-FFF2-40B4-BE49-F238E27FC236}">
                <a16:creationId xmlns:a16="http://schemas.microsoft.com/office/drawing/2014/main" id="{69DBDD1D-5342-4062-B517-B3AF4EE2364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nb-NO"/>
              <a:t>Institutt for kulturstudier og orientalske språk</a:t>
            </a:r>
          </a:p>
        </p:txBody>
      </p:sp>
      <p:sp>
        <p:nvSpPr>
          <p:cNvPr id="6" name="Plassholder for tekst 5">
            <a:extLst>
              <a:ext uri="{FF2B5EF4-FFF2-40B4-BE49-F238E27FC236}">
                <a16:creationId xmlns:a16="http://schemas.microsoft.com/office/drawing/2014/main" id="{998FFD0F-54A3-41AD-9456-7E426A36C5A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tekst 6">
            <a:extLst>
              <a:ext uri="{FF2B5EF4-FFF2-40B4-BE49-F238E27FC236}">
                <a16:creationId xmlns:a16="http://schemas.microsoft.com/office/drawing/2014/main" id="{4F053FFE-66B6-4F21-B430-755C5342EEA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8" name="Plassholder for dato 7">
            <a:extLst>
              <a:ext uri="{FF2B5EF4-FFF2-40B4-BE49-F238E27FC236}">
                <a16:creationId xmlns:a16="http://schemas.microsoft.com/office/drawing/2014/main" id="{9BE3899C-5B16-4697-8220-38A331FDB7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Plassholder for tekst 8">
            <a:extLst>
              <a:ext uri="{FF2B5EF4-FFF2-40B4-BE49-F238E27FC236}">
                <a16:creationId xmlns:a16="http://schemas.microsoft.com/office/drawing/2014/main" id="{B00E7B34-2C0D-4024-84E5-070D026D717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tekst 9">
            <a:extLst>
              <a:ext uri="{FF2B5EF4-FFF2-40B4-BE49-F238E27FC236}">
                <a16:creationId xmlns:a16="http://schemas.microsoft.com/office/drawing/2014/main" id="{9498931B-C66A-49C4-A94A-801D496FAB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nb-NO"/>
              <a:t>Alt du må vite som ny vit.ass. på IKOS</a:t>
            </a:r>
          </a:p>
        </p:txBody>
      </p:sp>
    </p:spTree>
    <p:extLst>
      <p:ext uri="{BB962C8B-B14F-4D97-AF65-F5344CB8AC3E}">
        <p14:creationId xmlns:p14="http://schemas.microsoft.com/office/powerpoint/2010/main" val="316090237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6F2440-D806-395D-2576-83B59ADE92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z="4400" b="0" i="0" dirty="0">
                <a:solidFill>
                  <a:srgbClr val="2F5496"/>
                </a:solidFill>
                <a:effectLst/>
                <a:latin typeface="Calibri Light" panose="020F0302020204030204" pitchFamily="34" charset="0"/>
              </a:rPr>
              <a:t>Enkel servering ved </a:t>
            </a:r>
            <a:r>
              <a:rPr lang="nb-NO" dirty="0">
                <a:solidFill>
                  <a:srgbClr val="2F5496"/>
                </a:solidFill>
                <a:latin typeface="Calibri Light" panose="020F0302020204030204" pitchFamily="34" charset="0"/>
              </a:rPr>
              <a:t>åpne arrangementer. </a:t>
            </a:r>
            <a:r>
              <a:rPr lang="nb-NO" sz="4400" b="0" i="0" dirty="0">
                <a:solidFill>
                  <a:srgbClr val="2F5496"/>
                </a:solidFill>
                <a:effectLst/>
                <a:latin typeface="Calibri Light" panose="020F0302020204030204" pitchFamily="34" charset="0"/>
              </a:rPr>
              <a:t>Under 3 timer i arbeidstiden:  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E1AC157-4BE4-8695-5745-BB565E76D09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1" y="1817850"/>
            <a:ext cx="10772191" cy="4351338"/>
          </a:xfrm>
        </p:spPr>
        <p:txBody>
          <a:bodyPr>
            <a:normAutofit fontScale="92500" lnSpcReduction="20000"/>
          </a:bodyPr>
          <a:lstStyle/>
          <a:p>
            <a:pPr marL="0" indent="0" algn="l" rtl="0" fontAlgn="base">
              <a:buNone/>
            </a:pPr>
            <a:r>
              <a:rPr lang="nb-NO" sz="18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 </a:t>
            </a:r>
            <a:endParaRPr lang="nb-NO" b="0" i="0" dirty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algn="l" rtl="0" fontAlgn="base"/>
            <a:r>
              <a:rPr lang="nb-NO" sz="18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Enkel servering(kaffe og bakevarer) kan gis for kortvarige arrangementer med eksterne deltager. Typisk eksempel er forelesninger/seminarer som er åpne for studenter og andre eksterne:  </a:t>
            </a:r>
            <a:endParaRPr lang="nb-NO" b="0" i="0" dirty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algn="l" rtl="0" fontAlgn="base"/>
            <a:r>
              <a:rPr lang="nb-NO" sz="18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Eksempel på åpent seminar:  </a:t>
            </a:r>
          </a:p>
          <a:p>
            <a:pPr marL="0" indent="0" algn="l" rtl="0" fontAlgn="base">
              <a:buNone/>
            </a:pPr>
            <a:endParaRPr lang="nb-NO" b="0" i="0" dirty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marL="0" indent="0" algn="l" rtl="0" fontAlgn="base">
              <a:buNone/>
            </a:pPr>
            <a:r>
              <a:rPr lang="nb-NO" sz="1800" b="0" i="0" dirty="0">
                <a:solidFill>
                  <a:srgbClr val="000000"/>
                </a:solidFill>
                <a:effectLst/>
                <a:latin typeface="Helvetica" panose="020B0604020202020204" pitchFamily="34" charset="0"/>
              </a:rPr>
              <a:t>	Annonsert på IKOS sine arrangementssider: </a:t>
            </a:r>
          </a:p>
          <a:p>
            <a:pPr marL="0" indent="0" algn="l" rtl="0" fontAlgn="base">
              <a:buNone/>
            </a:pPr>
            <a:r>
              <a:rPr lang="nb-NO" sz="1800" dirty="0">
                <a:solidFill>
                  <a:srgbClr val="000000"/>
                </a:solidFill>
                <a:latin typeface="Helvetica" panose="020B0604020202020204" pitchFamily="34" charset="0"/>
              </a:rPr>
              <a:t>	</a:t>
            </a:r>
            <a:r>
              <a:rPr lang="nb-NO" sz="1800" b="0" i="0" dirty="0">
                <a:solidFill>
                  <a:srgbClr val="000000"/>
                </a:solidFill>
                <a:effectLst/>
                <a:latin typeface="Helvetica" panose="020B0604020202020204" pitchFamily="34" charset="0"/>
              </a:rPr>
              <a:t> «</a:t>
            </a:r>
            <a:r>
              <a:rPr lang="nb-NO" sz="1800" b="0" i="0" dirty="0" err="1">
                <a:solidFill>
                  <a:srgbClr val="000000"/>
                </a:solidFill>
                <a:effectLst/>
                <a:latin typeface="Helvetica" panose="020B0604020202020204" pitchFamily="34" charset="0"/>
              </a:rPr>
              <a:t>Jews</a:t>
            </a:r>
            <a:r>
              <a:rPr lang="nb-NO" sz="1800" b="0" i="0" dirty="0">
                <a:solidFill>
                  <a:srgbClr val="000000"/>
                </a:solidFill>
                <a:effectLst/>
                <a:latin typeface="Helvetica" panose="020B0604020202020204" pitchFamily="34" charset="0"/>
              </a:rPr>
              <a:t>, </a:t>
            </a:r>
            <a:r>
              <a:rPr lang="nb-NO" sz="1800" b="0" i="0" dirty="0" err="1">
                <a:solidFill>
                  <a:srgbClr val="000000"/>
                </a:solidFill>
                <a:effectLst/>
                <a:latin typeface="Helvetica" panose="020B0604020202020204" pitchFamily="34" charset="0"/>
              </a:rPr>
              <a:t>Palestine</a:t>
            </a:r>
            <a:r>
              <a:rPr lang="nb-NO" sz="1800" b="0" i="0" dirty="0">
                <a:solidFill>
                  <a:srgbClr val="000000"/>
                </a:solidFill>
                <a:effectLst/>
                <a:latin typeface="Helvetica" panose="020B0604020202020204" pitchFamily="34" charset="0"/>
              </a:rPr>
              <a:t>, and </a:t>
            </a:r>
            <a:r>
              <a:rPr lang="nb-NO" sz="1800" b="0" i="0" dirty="0" err="1">
                <a:solidFill>
                  <a:srgbClr val="000000"/>
                </a:solidFill>
                <a:effectLst/>
                <a:latin typeface="Helvetica" panose="020B0604020202020204" pitchFamily="34" charset="0"/>
              </a:rPr>
              <a:t>Zionism</a:t>
            </a:r>
            <a:r>
              <a:rPr lang="nb-NO" sz="1800" b="0" i="0" dirty="0">
                <a:solidFill>
                  <a:srgbClr val="000000"/>
                </a:solidFill>
                <a:effectLst/>
                <a:latin typeface="Helvetica" panose="020B0604020202020204" pitchFamily="34" charset="0"/>
              </a:rPr>
              <a:t> in </a:t>
            </a:r>
            <a:r>
              <a:rPr lang="nb-NO" sz="1800" b="0" i="0" dirty="0" err="1">
                <a:solidFill>
                  <a:srgbClr val="000000"/>
                </a:solidFill>
                <a:effectLst/>
                <a:latin typeface="Helvetica" panose="020B0604020202020204" pitchFamily="34" charset="0"/>
              </a:rPr>
              <a:t>the</a:t>
            </a:r>
            <a:r>
              <a:rPr lang="nb-NO" sz="1800" b="0" i="0" dirty="0">
                <a:solidFill>
                  <a:srgbClr val="000000"/>
                </a:solidFill>
                <a:effectLst/>
                <a:latin typeface="Helvetica" panose="020B0604020202020204" pitchFamily="34" charset="0"/>
              </a:rPr>
              <a:t> </a:t>
            </a:r>
            <a:r>
              <a:rPr lang="nb-NO" sz="1800" b="0" i="0" dirty="0" err="1">
                <a:solidFill>
                  <a:srgbClr val="000000"/>
                </a:solidFill>
                <a:effectLst/>
                <a:latin typeface="Helvetica" panose="020B0604020202020204" pitchFamily="34" charset="0"/>
              </a:rPr>
              <a:t>Persian</a:t>
            </a:r>
            <a:r>
              <a:rPr lang="nb-NO" sz="1800" b="0" i="0" dirty="0">
                <a:solidFill>
                  <a:srgbClr val="000000"/>
                </a:solidFill>
                <a:effectLst/>
                <a:latin typeface="Helvetica" panose="020B0604020202020204" pitchFamily="34" charset="0"/>
              </a:rPr>
              <a:t> Gulf 1890-1948» </a:t>
            </a:r>
            <a:endParaRPr lang="nb-NO" b="0" i="0" dirty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marL="0" indent="0" algn="l" rtl="0" fontAlgn="base">
              <a:buNone/>
            </a:pPr>
            <a:r>
              <a:rPr lang="nb-NO" sz="1800" b="0" i="0" dirty="0">
                <a:effectLst/>
                <a:latin typeface="Helvetica" panose="020B0604020202020204" pitchFamily="34" charset="0"/>
                <a:cs typeface="Helvetica" panose="020B0604020202020204" pitchFamily="34" charset="0"/>
              </a:rPr>
              <a:t>	Time and </a:t>
            </a:r>
            <a:r>
              <a:rPr lang="nb-NO" sz="1800" b="0" i="0" dirty="0" err="1">
                <a:effectLst/>
                <a:latin typeface="Helvetica" panose="020B0604020202020204" pitchFamily="34" charset="0"/>
                <a:cs typeface="Helvetica" panose="020B0604020202020204" pitchFamily="34" charset="0"/>
              </a:rPr>
              <a:t>place</a:t>
            </a:r>
            <a:r>
              <a:rPr lang="nb-NO" sz="1800" b="0" i="0" dirty="0">
                <a:effectLst/>
                <a:latin typeface="Helvetica" panose="020B0604020202020204" pitchFamily="34" charset="0"/>
                <a:cs typeface="Helvetica" panose="020B0604020202020204" pitchFamily="34" charset="0"/>
              </a:rPr>
              <a:t>: Sep. 8, 2022 12:15 PM–1:30 PM, Eilert Sundts hus, A-blokka </a:t>
            </a:r>
            <a:r>
              <a:rPr lang="nb-NO" sz="1800" b="0" i="0" dirty="0" err="1">
                <a:effectLst/>
                <a:latin typeface="Helvetica" panose="020B0604020202020204" pitchFamily="34" charset="0"/>
                <a:cs typeface="Helvetica" panose="020B0604020202020204" pitchFamily="34" charset="0"/>
              </a:rPr>
              <a:t>aud</a:t>
            </a:r>
            <a:r>
              <a:rPr lang="nb-NO" sz="1800" b="0" i="0" dirty="0">
                <a:effectLst/>
                <a:latin typeface="Helvetica" panose="020B0604020202020204" pitchFamily="34" charset="0"/>
                <a:cs typeface="Helvetica" panose="020B0604020202020204" pitchFamily="34" charset="0"/>
              </a:rPr>
              <a:t>. 6 </a:t>
            </a:r>
            <a:endParaRPr lang="nb-NO" b="0" i="0" dirty="0">
              <a:effectLst/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 marL="0" indent="0" algn="l" rtl="0" fontAlgn="base">
              <a:buNone/>
            </a:pPr>
            <a:r>
              <a:rPr lang="nb-NO" sz="18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	</a:t>
            </a:r>
            <a:r>
              <a:rPr lang="nb-NO" sz="1800" b="0" i="0" dirty="0" err="1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Join</a:t>
            </a:r>
            <a:r>
              <a:rPr lang="nb-NO" sz="18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nb-NO" sz="1800" b="0" i="0" dirty="0" err="1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us</a:t>
            </a:r>
            <a:r>
              <a:rPr lang="nb-NO" sz="18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 for a </a:t>
            </a:r>
            <a:r>
              <a:rPr lang="nb-NO" sz="1800" b="0" i="0" dirty="0" err="1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Thursday</a:t>
            </a:r>
            <a:r>
              <a:rPr lang="nb-NO" sz="18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 seminar </a:t>
            </a:r>
            <a:r>
              <a:rPr lang="nb-NO" sz="1800" b="0" i="0" dirty="0" err="1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with</a:t>
            </a:r>
            <a:r>
              <a:rPr lang="nb-NO" sz="18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 Eirik </a:t>
            </a:r>
            <a:r>
              <a:rPr lang="nb-NO" sz="1800" b="0" i="0" dirty="0" err="1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Kvindesland</a:t>
            </a:r>
            <a:r>
              <a:rPr lang="nb-NO" sz="18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nb-NO" sz="1800" b="0" i="0" dirty="0" err="1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on</a:t>
            </a:r>
            <a:r>
              <a:rPr lang="nb-NO" sz="18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nb-NO" sz="1800" b="0" i="0" dirty="0" err="1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connections</a:t>
            </a:r>
            <a:r>
              <a:rPr lang="nb-NO" sz="18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nb-NO" sz="1800" b="0" i="0" dirty="0" err="1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between</a:t>
            </a:r>
            <a:r>
              <a:rPr lang="nb-NO" sz="18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nb-NO" sz="1800" b="0" i="0" dirty="0" err="1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Palestine</a:t>
            </a:r>
            <a:r>
              <a:rPr lang="nb-NO" sz="18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 and </a:t>
            </a:r>
            <a:r>
              <a:rPr lang="nb-NO" sz="1800" b="0" i="0" dirty="0" err="1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the</a:t>
            </a:r>
            <a:r>
              <a:rPr lang="nb-NO" sz="18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 	</a:t>
            </a:r>
            <a:r>
              <a:rPr lang="nb-NO" sz="1800" b="0" i="0" dirty="0" err="1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Persian</a:t>
            </a:r>
            <a:r>
              <a:rPr lang="nb-NO" sz="18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 Gulf.  </a:t>
            </a:r>
            <a:endParaRPr lang="nb-NO" b="0" i="0" dirty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marL="0" indent="0" algn="l" rtl="0" fontAlgn="base">
              <a:buNone/>
            </a:pPr>
            <a:endParaRPr lang="nb-NO" sz="1800" b="0" i="0" dirty="0">
              <a:solidFill>
                <a:srgbClr val="000000"/>
              </a:solidFill>
              <a:effectLst/>
              <a:latin typeface="Calibri" panose="020F0502020204030204" pitchFamily="34" charset="0"/>
            </a:endParaRPr>
          </a:p>
          <a:p>
            <a:pPr marL="0" indent="0" algn="l" rtl="0" fontAlgn="base">
              <a:buNone/>
            </a:pPr>
            <a:r>
              <a:rPr lang="nb-NO" sz="18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NB. Ved åpne arrangementer som dette, er ikke deltagerliste påkrevd. I stedet for deltagerliste, kan man legge ved et dokument med en kort beskrivelse av arrangementet og forventet antall deltagere. Eks: «</a:t>
            </a:r>
            <a:r>
              <a:rPr lang="nb-NO" sz="18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</a:rPr>
              <a:t>Åpen forelesning med </a:t>
            </a:r>
            <a:r>
              <a:rPr lang="nb-NO" sz="18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(….) forventet oppmøte er x personer basert på tidligere erfaring.»  Som program, legger man ved plakat/invitasjon til arrangement hvor det fremkommer at arrangement er åpent. (se eks. over) </a:t>
            </a:r>
            <a:endParaRPr lang="nb-NO" b="0" i="0" dirty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375580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EBE897-ECD7-67C3-1C60-A14F0ABD88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z="4400" b="0" i="0" dirty="0">
                <a:solidFill>
                  <a:srgbClr val="2F5496"/>
                </a:solidFill>
                <a:effectLst/>
                <a:latin typeface="Calibri Light" panose="020F0302020204030204" pitchFamily="34" charset="0"/>
              </a:rPr>
              <a:t>Mer enn 3 timer i arbeidstiden og går inn i lunsjtiden. Lunsjservering 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F586F9C-3B8E-5D7F-7598-DDC785154F5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pPr algn="l" rtl="0" fontAlgn="base"/>
            <a:r>
              <a:rPr lang="nb-NO" sz="28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Merk</a:t>
            </a:r>
            <a:r>
              <a:rPr lang="nb-NO" sz="2800" b="0" i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: </a:t>
            </a:r>
            <a:r>
              <a:rPr lang="nb-NO" dirty="0">
                <a:solidFill>
                  <a:srgbClr val="000000"/>
                </a:solidFill>
                <a:latin typeface="Calibri" panose="020F0502020204030204" pitchFamily="34" charset="0"/>
              </a:rPr>
              <a:t>E</a:t>
            </a:r>
            <a:r>
              <a:rPr lang="nb-NO" sz="2800" b="0" i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nkel </a:t>
            </a:r>
            <a:r>
              <a:rPr lang="nb-NO" sz="28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lunsj kan i praksis alltid serveres hvis det er eksterne deltagere til stede på arrangementet.(se sats for enkel servering)   </a:t>
            </a:r>
          </a:p>
          <a:p>
            <a:pPr marL="0" indent="0" algn="l" rtl="0" fontAlgn="base">
              <a:buNone/>
            </a:pPr>
            <a:endParaRPr lang="nb-NO" b="0" i="0" dirty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algn="l" rtl="0" fontAlgn="base"/>
            <a:r>
              <a:rPr lang="nb-NO" sz="28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«Lunsjtid» defineres som klokken 11-13. Det er ikke anledning til</a:t>
            </a:r>
            <a:r>
              <a:rPr lang="nb-NO" sz="28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</a:rPr>
              <a:t> å starte et arrangement med lunsj. </a:t>
            </a:r>
            <a:r>
              <a:rPr lang="nb-NO" sz="28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Om det kun er interne deltagere, må den faglige delen vare minst 3 timer.  </a:t>
            </a:r>
          </a:p>
          <a:p>
            <a:pPr algn="l" rtl="0" fontAlgn="base"/>
            <a:endParaRPr lang="nb-NO" b="0" i="0" dirty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marL="0" indent="0" algn="l" rtl="0" fontAlgn="base">
              <a:buNone/>
            </a:pPr>
            <a:r>
              <a:rPr lang="nb-NO" sz="28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Eksempelprogram:  </a:t>
            </a:r>
            <a:endParaRPr lang="nb-NO" b="0" i="0" dirty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algn="l" rtl="0" fontAlgn="base"/>
            <a:r>
              <a:rPr lang="nb-NO" sz="28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«Workshop om …»  </a:t>
            </a:r>
            <a:endParaRPr lang="nb-NO" b="0" i="0" dirty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algn="l" rtl="0" fontAlgn="base"/>
            <a:r>
              <a:rPr lang="nb-NO" sz="28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Del A: Diskusjoner: 9-12  </a:t>
            </a:r>
            <a:endParaRPr lang="nb-NO" b="0" i="0" dirty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algn="l" rtl="0" fontAlgn="base"/>
            <a:r>
              <a:rPr lang="nb-NO" sz="28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Lunsj: 12-13  </a:t>
            </a:r>
            <a:endParaRPr lang="nb-NO" b="0" i="0" dirty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215548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67D715-32F2-49EC-1A4C-130A491FE5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z="4400" b="0" i="0" dirty="0">
                <a:solidFill>
                  <a:srgbClr val="2F5496"/>
                </a:solidFill>
                <a:effectLst/>
                <a:latin typeface="Calibri Light" panose="020F0302020204030204" pitchFamily="34" charset="0"/>
              </a:rPr>
              <a:t>Mer enn 3 timer og utover arbeidstiden. Middagsservering.  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846011F-281F-3B10-3591-06FAB7F52B8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algn="l" rtl="0" fontAlgn="base"/>
            <a:r>
              <a:rPr lang="nb-NO" sz="18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For å kunne beverte med middag må </a:t>
            </a:r>
            <a:r>
              <a:rPr lang="nb-NO" sz="1800" dirty="0">
                <a:solidFill>
                  <a:srgbClr val="000000"/>
                </a:solidFill>
                <a:latin typeface="Calibri" panose="020F0502020204030204" pitchFamily="34" charset="0"/>
              </a:rPr>
              <a:t>den faglige delen av </a:t>
            </a:r>
            <a:r>
              <a:rPr lang="nb-NO" sz="18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arrangementet vare minst 3 timer, utover arbeidstiden, og generelt kreves det ekstern deltagelse. Arbeidstiden varer til klokken 16. (kl. 15. mellom 15/5-15/9). </a:t>
            </a:r>
            <a:endParaRPr lang="nb-NO" b="0" i="0" dirty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algn="l" rtl="0" fontAlgn="base"/>
            <a:r>
              <a:rPr lang="nb-NO" sz="18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Middagen må også serveres i forbindelse med arrangementet. I praksis betyr dette at middag ikke skal legges til senere enn to timer etter den faglige delen er avsluttet.  </a:t>
            </a:r>
            <a:endParaRPr lang="nb-NO" b="0" i="0" dirty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marL="0" indent="0" algn="l" rtl="0" fontAlgn="base">
              <a:buNone/>
            </a:pPr>
            <a:r>
              <a:rPr lang="nb-NO" sz="18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Eksempel:  </a:t>
            </a:r>
            <a:endParaRPr lang="nb-NO" b="0" i="0" dirty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marL="0" indent="0" algn="l" rtl="0" fontAlgn="base">
              <a:buNone/>
            </a:pPr>
            <a:r>
              <a:rPr lang="nb-NO" sz="18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«Workshop om…» </a:t>
            </a:r>
            <a:endParaRPr lang="nb-NO" b="0" i="0" dirty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marL="0" indent="0" algn="l" rtl="0" fontAlgn="base">
              <a:buNone/>
            </a:pPr>
            <a:r>
              <a:rPr lang="nb-NO" sz="18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Del A Diskusjoner:  14-17: </a:t>
            </a:r>
            <a:endParaRPr lang="nb-NO" b="0" i="0" dirty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marL="0" indent="0" algn="l" rtl="0" fontAlgn="base">
              <a:buNone/>
            </a:pPr>
            <a:r>
              <a:rPr lang="nb-NO" sz="18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Middag på </a:t>
            </a:r>
            <a:r>
              <a:rPr lang="nb-NO" sz="1800" b="0" i="0" dirty="0" err="1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xxxx</a:t>
            </a:r>
            <a:r>
              <a:rPr lang="nb-NO" sz="18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 19-21. </a:t>
            </a:r>
            <a:endParaRPr lang="nb-NO" b="0" i="0" dirty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595083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140239-3F04-F89D-176F-A021DFF7FC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z="4400" b="0" i="0" dirty="0">
                <a:solidFill>
                  <a:srgbClr val="2F5496"/>
                </a:solidFill>
                <a:effectLst/>
                <a:latin typeface="Calibri Light" panose="020F0302020204030204" pitchFamily="34" charset="0"/>
              </a:rPr>
              <a:t>Langvarig og nødvendig med to serveringer. Lunsj og middag.  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CB4F167-2B67-7E1F-49A1-1B87D166137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 algn="l" rtl="0" fontAlgn="base">
              <a:buNone/>
            </a:pPr>
            <a:r>
              <a:rPr lang="en-US" sz="18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For å </a:t>
            </a:r>
            <a:r>
              <a:rPr lang="en-US" sz="1800" b="0" i="0" dirty="0" err="1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beverte</a:t>
            </a:r>
            <a:r>
              <a:rPr lang="en-US" sz="18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 et arrangement med </a:t>
            </a:r>
            <a:r>
              <a:rPr lang="en-US" sz="1800" b="0" i="0" dirty="0" err="1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både</a:t>
            </a:r>
            <a:r>
              <a:rPr lang="en-US" sz="18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en-US" sz="1800" b="0" i="0" dirty="0" err="1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lunsj</a:t>
            </a:r>
            <a:r>
              <a:rPr lang="en-US" sz="18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en-US" sz="1800" b="0" i="0" dirty="0" err="1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og</a:t>
            </a:r>
            <a:r>
              <a:rPr lang="en-US" sz="18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en-US" sz="1800" b="0" i="0" dirty="0" err="1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middag</a:t>
            </a:r>
            <a:r>
              <a:rPr lang="en-US" sz="18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, </a:t>
            </a:r>
            <a:r>
              <a:rPr lang="en-US" sz="1800" b="0" i="0" dirty="0" err="1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må</a:t>
            </a:r>
            <a:r>
              <a:rPr lang="en-US" sz="18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en-US" sz="1800" b="0" i="0" dirty="0" err="1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arrangementet</a:t>
            </a:r>
            <a:r>
              <a:rPr lang="en-US" sz="18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en-US" sz="1800" b="0" i="0" dirty="0" err="1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vare</a:t>
            </a:r>
            <a:r>
              <a:rPr lang="en-US" sz="18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 hele </a:t>
            </a:r>
            <a:r>
              <a:rPr lang="en-US" sz="1800" b="0" i="0" dirty="0" err="1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dagen</a:t>
            </a:r>
            <a:r>
              <a:rPr lang="en-US" sz="18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en-US" sz="1800" b="1" i="0" dirty="0" err="1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og</a:t>
            </a:r>
            <a:r>
              <a:rPr lang="en-US" sz="1800" b="1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en-US" sz="1800" b="0" i="0" dirty="0" err="1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ut</a:t>
            </a:r>
            <a:r>
              <a:rPr lang="en-US" sz="18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 over normal </a:t>
            </a:r>
            <a:r>
              <a:rPr lang="en-US" sz="1800" b="0" i="0" dirty="0" err="1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arbeidstid</a:t>
            </a:r>
            <a:r>
              <a:rPr lang="en-US" sz="18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. I </a:t>
            </a:r>
            <a:r>
              <a:rPr lang="en-US" sz="1800" b="0" i="0" dirty="0" err="1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praksis</a:t>
            </a:r>
            <a:r>
              <a:rPr lang="en-US" sz="18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en-US" sz="1800" b="0" i="0" dirty="0" err="1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skal</a:t>
            </a:r>
            <a:r>
              <a:rPr lang="en-US" sz="18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en-US" sz="1800" b="0" i="0" dirty="0" err="1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første</a:t>
            </a:r>
            <a:r>
              <a:rPr lang="en-US" sz="18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 del av </a:t>
            </a:r>
            <a:r>
              <a:rPr lang="en-US" sz="1800" b="0" i="0" dirty="0" err="1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arrangementet</a:t>
            </a:r>
            <a:r>
              <a:rPr lang="en-US" sz="18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en-US" sz="1800" b="0" i="0" dirty="0" err="1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oppfylle</a:t>
            </a:r>
            <a:r>
              <a:rPr lang="en-US" sz="18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en-US" sz="1800" b="0" i="0" dirty="0" err="1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krav</a:t>
            </a:r>
            <a:r>
              <a:rPr lang="en-US" sz="18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 for  </a:t>
            </a:r>
            <a:r>
              <a:rPr lang="en-US" sz="1800" b="0" i="0" dirty="0" err="1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lunsjbevertning</a:t>
            </a:r>
            <a:r>
              <a:rPr lang="en-US" sz="18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(</a:t>
            </a:r>
            <a:r>
              <a:rPr lang="en-US" sz="1800" b="0" i="0" dirty="0" err="1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mer</a:t>
            </a:r>
            <a:r>
              <a:rPr lang="en-US" sz="18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en-US" sz="1800" b="0" i="0" dirty="0" err="1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enn</a:t>
            </a:r>
            <a:r>
              <a:rPr lang="en-US" sz="18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en-US" sz="1800" b="0" i="0" dirty="0" err="1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tre</a:t>
            </a:r>
            <a:r>
              <a:rPr lang="en-US" sz="18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en-US" sz="1800" b="0" i="0" dirty="0" err="1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timer,inn</a:t>
            </a:r>
            <a:r>
              <a:rPr lang="en-US" sz="18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en-US" sz="1800" b="0" i="0" dirty="0" err="1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i</a:t>
            </a:r>
            <a:r>
              <a:rPr lang="en-US" sz="18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en-US" sz="1800" b="0" i="0" dirty="0" err="1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lunsjtid</a:t>
            </a:r>
            <a:r>
              <a:rPr lang="en-US" sz="18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), </a:t>
            </a:r>
            <a:r>
              <a:rPr lang="en-US" sz="1800" b="0" i="0" dirty="0" err="1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og</a:t>
            </a:r>
            <a:r>
              <a:rPr lang="en-US" sz="18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 del 2 </a:t>
            </a:r>
            <a:r>
              <a:rPr lang="en-US" sz="1800" b="0" i="0" dirty="0" err="1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oppfylle</a:t>
            </a:r>
            <a:r>
              <a:rPr lang="en-US" sz="18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en-US" sz="1800" b="0" i="0" dirty="0" err="1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krav</a:t>
            </a:r>
            <a:r>
              <a:rPr lang="en-US" sz="18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 for </a:t>
            </a:r>
            <a:r>
              <a:rPr lang="en-US" sz="1800" b="0" i="0" dirty="0" err="1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middagsbevertning</a:t>
            </a:r>
            <a:r>
              <a:rPr lang="en-US" sz="18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( </a:t>
            </a:r>
            <a:r>
              <a:rPr lang="en-US" sz="1800" b="0" i="0" dirty="0" err="1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mer</a:t>
            </a:r>
            <a:r>
              <a:rPr lang="en-US" sz="18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en-US" sz="1800" b="0" i="0" dirty="0" err="1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enn</a:t>
            </a:r>
            <a:r>
              <a:rPr lang="en-US" sz="18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en-US" sz="1800" b="0" i="0" dirty="0" err="1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tre</a:t>
            </a:r>
            <a:r>
              <a:rPr lang="en-US" sz="18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 timer, over </a:t>
            </a:r>
            <a:r>
              <a:rPr lang="en-US" sz="1800" b="0" i="0" dirty="0" err="1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arbeidstid</a:t>
            </a:r>
            <a:r>
              <a:rPr lang="en-US" sz="18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).   </a:t>
            </a:r>
            <a:endParaRPr lang="en-US" b="0" i="0" dirty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marL="0" indent="0" algn="l" rtl="0" fontAlgn="base">
              <a:buNone/>
            </a:pPr>
            <a:r>
              <a:rPr lang="nb-NO" sz="18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Eks:  </a:t>
            </a:r>
            <a:endParaRPr lang="nb-NO" b="0" i="0" dirty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algn="l" rtl="0" fontAlgn="base"/>
            <a:r>
              <a:rPr lang="nb-NO" sz="18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«Workshop om …»  </a:t>
            </a:r>
            <a:endParaRPr lang="nb-NO" b="0" i="0" dirty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algn="l" rtl="0" fontAlgn="base"/>
            <a:r>
              <a:rPr lang="nb-NO" sz="18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Del A: Diskusjoner: 9-12  </a:t>
            </a:r>
            <a:endParaRPr lang="nb-NO" b="0" i="0" dirty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algn="l" rtl="0" fontAlgn="base"/>
            <a:r>
              <a:rPr lang="nb-NO" sz="18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Lunsj: 12-13  </a:t>
            </a:r>
            <a:endParaRPr lang="nb-NO" b="0" i="0" dirty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algn="l" rtl="0" fontAlgn="base"/>
            <a:r>
              <a:rPr lang="nb-NO" sz="18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Del B: Mer krangling : 13-17: </a:t>
            </a:r>
            <a:endParaRPr lang="nb-NO" b="0" i="0" dirty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algn="l" rtl="0" fontAlgn="base"/>
            <a:r>
              <a:rPr lang="nb-NO" sz="18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Middag på </a:t>
            </a:r>
            <a:r>
              <a:rPr lang="nb-NO" sz="1800" b="0" i="0" dirty="0" err="1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xxxx</a:t>
            </a:r>
            <a:r>
              <a:rPr lang="nb-NO" sz="18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 19-21.  </a:t>
            </a:r>
            <a:endParaRPr lang="nb-NO" b="0" i="0" dirty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99544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8B60FE-42A9-4A6B-982E-F60EDD5263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z="4400" b="0" i="0" dirty="0">
                <a:solidFill>
                  <a:srgbClr val="2F5496"/>
                </a:solidFill>
                <a:effectLst/>
                <a:latin typeface="Calibri Light" panose="020F0302020204030204" pitchFamily="34" charset="0"/>
              </a:rPr>
              <a:t>Konferansehoteller</a:t>
            </a:r>
            <a:endParaRPr lang="nb-NO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D860AD3-512D-4AA5-894C-4A1F043F18E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I </a:t>
            </a:r>
            <a:r>
              <a:rPr lang="en-US" dirty="0" err="1"/>
              <a:t>utgangspunkt</a:t>
            </a:r>
            <a:r>
              <a:rPr lang="en-US" dirty="0"/>
              <a:t> </a:t>
            </a:r>
            <a:r>
              <a:rPr lang="en-US" dirty="0" err="1"/>
              <a:t>benyttes</a:t>
            </a:r>
            <a:r>
              <a:rPr lang="en-US" dirty="0"/>
              <a:t> UIOs </a:t>
            </a:r>
            <a:r>
              <a:rPr lang="en-US" dirty="0" err="1"/>
              <a:t>lokaler</a:t>
            </a:r>
            <a:r>
              <a:rPr lang="en-US" dirty="0"/>
              <a:t> </a:t>
            </a:r>
            <a:r>
              <a:rPr lang="en-US" dirty="0" err="1"/>
              <a:t>til</a:t>
            </a:r>
            <a:r>
              <a:rPr lang="en-US" dirty="0"/>
              <a:t> å </a:t>
            </a:r>
            <a:r>
              <a:rPr lang="en-US" dirty="0" err="1"/>
              <a:t>avholde</a:t>
            </a:r>
            <a:r>
              <a:rPr lang="en-US" dirty="0"/>
              <a:t> </a:t>
            </a:r>
            <a:r>
              <a:rPr lang="en-US" dirty="0" err="1"/>
              <a:t>møter</a:t>
            </a:r>
            <a:r>
              <a:rPr lang="en-US" dirty="0"/>
              <a:t>/</a:t>
            </a:r>
            <a:r>
              <a:rPr lang="en-US" dirty="0" err="1"/>
              <a:t>seminarer</a:t>
            </a:r>
            <a:r>
              <a:rPr lang="en-US" dirty="0"/>
              <a:t> </a:t>
            </a:r>
            <a:r>
              <a:rPr lang="en-US" dirty="0" err="1"/>
              <a:t>o.l.</a:t>
            </a:r>
            <a:r>
              <a:rPr lang="en-US" dirty="0"/>
              <a:t> </a:t>
            </a:r>
          </a:p>
          <a:p>
            <a:r>
              <a:rPr lang="en-US" dirty="0" err="1"/>
              <a:t>Ved</a:t>
            </a:r>
            <a:r>
              <a:rPr lang="en-US" dirty="0"/>
              <a:t> </a:t>
            </a:r>
            <a:r>
              <a:rPr lang="en-US" dirty="0" err="1"/>
              <a:t>større</a:t>
            </a:r>
            <a:r>
              <a:rPr lang="en-US" dirty="0"/>
              <a:t> </a:t>
            </a:r>
            <a:r>
              <a:rPr lang="en-US" dirty="0" err="1"/>
              <a:t>seminarer</a:t>
            </a:r>
            <a:r>
              <a:rPr lang="en-US" dirty="0"/>
              <a:t>/</a:t>
            </a:r>
            <a:r>
              <a:rPr lang="en-US" dirty="0" err="1"/>
              <a:t>konferanser</a:t>
            </a:r>
            <a:r>
              <a:rPr lang="en-US" dirty="0"/>
              <a:t> er det </a:t>
            </a:r>
            <a:r>
              <a:rPr lang="en-US" dirty="0" err="1"/>
              <a:t>aktuelt</a:t>
            </a:r>
            <a:r>
              <a:rPr lang="en-US" dirty="0"/>
              <a:t> å </a:t>
            </a:r>
            <a:r>
              <a:rPr lang="en-US" dirty="0" err="1"/>
              <a:t>booke</a:t>
            </a:r>
            <a:r>
              <a:rPr lang="en-US" dirty="0"/>
              <a:t> </a:t>
            </a:r>
            <a:r>
              <a:rPr lang="en-US" dirty="0" err="1"/>
              <a:t>konferansehotell</a:t>
            </a:r>
            <a:r>
              <a:rPr lang="en-US" dirty="0"/>
              <a:t> med </a:t>
            </a:r>
            <a:r>
              <a:rPr lang="en-US" dirty="0" err="1"/>
              <a:t>overnatting</a:t>
            </a:r>
            <a:r>
              <a:rPr lang="en-US" dirty="0"/>
              <a:t>. </a:t>
            </a:r>
          </a:p>
          <a:p>
            <a:r>
              <a:rPr lang="en-US" dirty="0" err="1"/>
              <a:t>Beløpsgrense</a:t>
            </a:r>
            <a:r>
              <a:rPr lang="en-US" dirty="0"/>
              <a:t> </a:t>
            </a:r>
            <a:r>
              <a:rPr lang="en-US" dirty="0" err="1"/>
              <a:t>på</a:t>
            </a:r>
            <a:r>
              <a:rPr lang="en-US" dirty="0"/>
              <a:t> 100 000 for </a:t>
            </a:r>
            <a:r>
              <a:rPr lang="en-US" dirty="0" err="1"/>
              <a:t>direkte</a:t>
            </a:r>
            <a:r>
              <a:rPr lang="en-US" dirty="0"/>
              <a:t> </a:t>
            </a:r>
            <a:r>
              <a:rPr lang="en-US" dirty="0" err="1"/>
              <a:t>bestilling</a:t>
            </a:r>
            <a:r>
              <a:rPr lang="en-US" dirty="0"/>
              <a:t>. </a:t>
            </a:r>
            <a:r>
              <a:rPr lang="en-US" dirty="0" err="1"/>
              <a:t>Ved</a:t>
            </a:r>
            <a:r>
              <a:rPr lang="en-US" dirty="0"/>
              <a:t> </a:t>
            </a:r>
            <a:r>
              <a:rPr lang="en-US" dirty="0" err="1"/>
              <a:t>større</a:t>
            </a:r>
            <a:r>
              <a:rPr lang="en-US" dirty="0"/>
              <a:t> </a:t>
            </a:r>
            <a:r>
              <a:rPr lang="en-US" dirty="0" err="1"/>
              <a:t>behov</a:t>
            </a:r>
            <a:r>
              <a:rPr lang="en-US" dirty="0"/>
              <a:t>, </a:t>
            </a:r>
            <a:r>
              <a:rPr lang="en-US" dirty="0" err="1"/>
              <a:t>må</a:t>
            </a:r>
            <a:r>
              <a:rPr lang="en-US" dirty="0"/>
              <a:t> </a:t>
            </a:r>
            <a:r>
              <a:rPr lang="en-US" dirty="0" err="1"/>
              <a:t>flere</a:t>
            </a:r>
            <a:r>
              <a:rPr lang="en-US" dirty="0"/>
              <a:t> </a:t>
            </a:r>
            <a:r>
              <a:rPr lang="en-US" dirty="0" err="1"/>
              <a:t>tilbud</a:t>
            </a:r>
            <a:r>
              <a:rPr lang="en-US" dirty="0"/>
              <a:t> </a:t>
            </a:r>
            <a:r>
              <a:rPr lang="en-US" dirty="0" err="1"/>
              <a:t>innhentes</a:t>
            </a:r>
            <a:r>
              <a:rPr lang="en-US" dirty="0"/>
              <a:t>. </a:t>
            </a:r>
          </a:p>
          <a:p>
            <a:r>
              <a:rPr lang="en-US" dirty="0"/>
              <a:t>Over 200 000 – </a:t>
            </a:r>
            <a:r>
              <a:rPr lang="en-US" dirty="0" err="1"/>
              <a:t>krav</a:t>
            </a:r>
            <a:r>
              <a:rPr lang="en-US" dirty="0"/>
              <a:t> om </a:t>
            </a:r>
            <a:r>
              <a:rPr lang="en-US" dirty="0" err="1"/>
              <a:t>enkel</a:t>
            </a:r>
            <a:r>
              <a:rPr lang="en-US" dirty="0"/>
              <a:t> </a:t>
            </a:r>
            <a:r>
              <a:rPr lang="en-US" dirty="0" err="1"/>
              <a:t>tilbudskonkurranse</a:t>
            </a:r>
            <a:r>
              <a:rPr lang="en-US" dirty="0"/>
              <a:t>.(</a:t>
            </a:r>
            <a:r>
              <a:rPr lang="en-US" dirty="0" err="1"/>
              <a:t>Vær</a:t>
            </a:r>
            <a:r>
              <a:rPr lang="en-US" dirty="0"/>
              <a:t> </a:t>
            </a:r>
            <a:r>
              <a:rPr lang="en-US" dirty="0" err="1"/>
              <a:t>derfor</a:t>
            </a:r>
            <a:r>
              <a:rPr lang="en-US" dirty="0"/>
              <a:t> </a:t>
            </a:r>
            <a:r>
              <a:rPr lang="en-US" dirty="0" err="1"/>
              <a:t>ute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veldig</a:t>
            </a:r>
            <a:r>
              <a:rPr lang="en-US" dirty="0"/>
              <a:t> god </a:t>
            </a:r>
            <a:r>
              <a:rPr lang="en-US" dirty="0" err="1"/>
              <a:t>tid</a:t>
            </a:r>
            <a:r>
              <a:rPr lang="en-US" dirty="0"/>
              <a:t> ) </a:t>
            </a:r>
          </a:p>
        </p:txBody>
      </p:sp>
    </p:spTree>
    <p:extLst>
      <p:ext uri="{BB962C8B-B14F-4D97-AF65-F5344CB8AC3E}">
        <p14:creationId xmlns:p14="http://schemas.microsoft.com/office/powerpoint/2010/main" val="313742962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B152C19E-7F74-A94D-02B9-82C1CC3E5F0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73908052"/>
              </p:ext>
            </p:extLst>
          </p:nvPr>
        </p:nvGraphicFramePr>
        <p:xfrm>
          <a:off x="1924523" y="2040147"/>
          <a:ext cx="6414362" cy="3505200"/>
        </p:xfrm>
        <a:graphic>
          <a:graphicData uri="http://schemas.openxmlformats.org/drawingml/2006/table">
            <a:tbl>
              <a:tblPr/>
              <a:tblGrid>
                <a:gridCol w="4205989">
                  <a:extLst>
                    <a:ext uri="{9D8B030D-6E8A-4147-A177-3AD203B41FA5}">
                      <a16:colId xmlns:a16="http://schemas.microsoft.com/office/drawing/2014/main" val="4120407273"/>
                    </a:ext>
                  </a:extLst>
                </a:gridCol>
                <a:gridCol w="1053788">
                  <a:extLst>
                    <a:ext uri="{9D8B030D-6E8A-4147-A177-3AD203B41FA5}">
                      <a16:colId xmlns:a16="http://schemas.microsoft.com/office/drawing/2014/main" val="2281618843"/>
                    </a:ext>
                  </a:extLst>
                </a:gridCol>
                <a:gridCol w="1154585">
                  <a:extLst>
                    <a:ext uri="{9D8B030D-6E8A-4147-A177-3AD203B41FA5}">
                      <a16:colId xmlns:a16="http://schemas.microsoft.com/office/drawing/2014/main" val="4025566900"/>
                    </a:ext>
                  </a:extLst>
                </a:gridCol>
              </a:tblGrid>
              <a:tr h="666750">
                <a:tc>
                  <a:txBody>
                    <a:bodyPr/>
                    <a:lstStyle/>
                    <a:p>
                      <a:pPr fontAlgn="t"/>
                      <a:endParaRPr lang="en-US">
                        <a:effectLst/>
                      </a:endParaRPr>
                    </a:p>
                    <a:p>
                      <a:pPr algn="l" rtl="0" fontAlgn="base"/>
                      <a:r>
                        <a:rPr lang="en-US" sz="1100" b="1" i="0">
                          <a:effectLst/>
                          <a:latin typeface="Calibri" panose="020F0502020204030204" pitchFamily="34" charset="0"/>
                        </a:rPr>
                        <a:t>Arrangementer</a:t>
                      </a:r>
                      <a:r>
                        <a:rPr lang="en-US" sz="1100" b="0" i="0"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en-US" b="0" i="0">
                        <a:effectLst/>
                      </a:endParaRPr>
                    </a:p>
                  </a:txBody>
                  <a:tcPr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en-US">
                        <a:effectLst/>
                      </a:endParaRPr>
                    </a:p>
                    <a:p>
                      <a:pPr algn="l" rtl="0" fontAlgn="base"/>
                      <a:r>
                        <a:rPr lang="en-US" sz="1100" b="1" i="0">
                          <a:effectLst/>
                          <a:latin typeface="Calibri" panose="020F0502020204030204" pitchFamily="34" charset="0"/>
                        </a:rPr>
                        <a:t>I UIOs lokaler </a:t>
                      </a:r>
                      <a:r>
                        <a:rPr lang="en-US" sz="1100" b="0" i="0"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en-US" b="0" i="0">
                        <a:effectLst/>
                      </a:endParaRPr>
                    </a:p>
                  </a:txBody>
                  <a:tcPr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en-US" dirty="0">
                        <a:effectLst/>
                      </a:endParaRPr>
                    </a:p>
                    <a:p>
                      <a:pPr algn="l" rtl="0" fontAlgn="base"/>
                      <a:r>
                        <a:rPr lang="en-US" sz="1100" b="1" i="0" dirty="0" err="1">
                          <a:effectLst/>
                          <a:latin typeface="Calibri" panose="020F0502020204030204" pitchFamily="34" charset="0"/>
                        </a:rPr>
                        <a:t>Utenfor</a:t>
                      </a:r>
                      <a:r>
                        <a:rPr lang="en-US" sz="1100" b="1" i="0" dirty="0">
                          <a:effectLst/>
                          <a:latin typeface="Calibri" panose="020F0502020204030204" pitchFamily="34" charset="0"/>
                        </a:rPr>
                        <a:t> UIOs </a:t>
                      </a:r>
                      <a:r>
                        <a:rPr lang="en-US" sz="1100" b="1" i="0" dirty="0" err="1">
                          <a:effectLst/>
                          <a:latin typeface="Calibri" panose="020F0502020204030204" pitchFamily="34" charset="0"/>
                        </a:rPr>
                        <a:t>lokaler</a:t>
                      </a:r>
                      <a:r>
                        <a:rPr lang="en-US" sz="1100" b="1" i="0" dirty="0"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100" b="0" i="0" dirty="0"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en-US" b="0" i="0" dirty="0">
                        <a:effectLst/>
                      </a:endParaRPr>
                    </a:p>
                  </a:txBody>
                  <a:tcPr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630827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fontAlgn="t"/>
                      <a:r>
                        <a:rPr lang="en-US" dirty="0" err="1">
                          <a:effectLst/>
                        </a:rPr>
                        <a:t>Enkel</a:t>
                      </a:r>
                      <a:r>
                        <a:rPr lang="en-US" dirty="0">
                          <a:effectLst/>
                        </a:rPr>
                        <a:t> </a:t>
                      </a:r>
                      <a:r>
                        <a:rPr lang="en-US" dirty="0" err="1">
                          <a:effectLst/>
                        </a:rPr>
                        <a:t>servering</a:t>
                      </a:r>
                      <a:r>
                        <a:rPr lang="en-US" dirty="0">
                          <a:effectLst/>
                        </a:rPr>
                        <a:t>:</a:t>
                      </a:r>
                    </a:p>
                    <a:p>
                      <a:pPr algn="l" rtl="0" fontAlgn="base"/>
                      <a:r>
                        <a:rPr lang="en-US" sz="1100" b="0" i="0" dirty="0">
                          <a:effectLst/>
                        </a:rPr>
                        <a:t>Under 3 timer </a:t>
                      </a:r>
                      <a:r>
                        <a:rPr lang="en-US" sz="1100" b="0" i="0" dirty="0" err="1">
                          <a:effectLst/>
                        </a:rPr>
                        <a:t>i</a:t>
                      </a:r>
                      <a:r>
                        <a:rPr lang="en-US" sz="1100" b="0" i="0" dirty="0">
                          <a:effectLst/>
                        </a:rPr>
                        <a:t> </a:t>
                      </a:r>
                      <a:r>
                        <a:rPr lang="en-US" sz="1100" b="0" i="0" dirty="0" err="1">
                          <a:effectLst/>
                        </a:rPr>
                        <a:t>arbeidstiden</a:t>
                      </a:r>
                      <a:r>
                        <a:rPr lang="en-US" sz="1100" b="0" i="0" dirty="0">
                          <a:effectLst/>
                        </a:rPr>
                        <a:t> (</a:t>
                      </a:r>
                      <a:r>
                        <a:rPr lang="en-US" sz="1100" b="0" i="0" dirty="0" err="1">
                          <a:effectLst/>
                        </a:rPr>
                        <a:t>forutsatt</a:t>
                      </a:r>
                      <a:r>
                        <a:rPr lang="en-US" sz="1100" b="0" i="0" dirty="0">
                          <a:effectLst/>
                        </a:rPr>
                        <a:t> </a:t>
                      </a:r>
                      <a:r>
                        <a:rPr lang="en-US" sz="1100" b="0" i="0" dirty="0" err="1">
                          <a:effectLst/>
                        </a:rPr>
                        <a:t>ekstern</a:t>
                      </a:r>
                      <a:r>
                        <a:rPr lang="en-US" sz="1100" b="0" i="0" dirty="0">
                          <a:effectLst/>
                        </a:rPr>
                        <a:t> </a:t>
                      </a:r>
                      <a:r>
                        <a:rPr lang="en-US" sz="1100" b="0" i="0" dirty="0" err="1">
                          <a:effectLst/>
                        </a:rPr>
                        <a:t>deltagelse</a:t>
                      </a:r>
                      <a:r>
                        <a:rPr lang="en-US" sz="1100" b="0" i="0" dirty="0">
                          <a:effectLst/>
                        </a:rPr>
                        <a:t>) </a:t>
                      </a:r>
                      <a:endParaRPr lang="en-US" b="0" i="0" dirty="0">
                        <a:effectLst/>
                      </a:endParaRPr>
                    </a:p>
                  </a:txBody>
                  <a:tcPr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/>
                      <a:endParaRPr lang="en-US" dirty="0">
                        <a:effectLst/>
                      </a:endParaRPr>
                    </a:p>
                    <a:p>
                      <a:pPr algn="l" rtl="0" fontAlgn="base"/>
                      <a:r>
                        <a:rPr lang="en-US" sz="1100" b="0" i="0" dirty="0" err="1">
                          <a:effectLst/>
                          <a:latin typeface="Calibri" panose="020F0502020204030204" pitchFamily="34" charset="0"/>
                        </a:rPr>
                        <a:t>kr</a:t>
                      </a:r>
                      <a:r>
                        <a:rPr lang="en-US" sz="1100" b="0" i="0" dirty="0">
                          <a:effectLst/>
                          <a:latin typeface="Calibri" panose="020F0502020204030204" pitchFamily="34" charset="0"/>
                        </a:rPr>
                        <a:t> 197 </a:t>
                      </a:r>
                      <a:endParaRPr lang="en-US" b="0" i="0" dirty="0">
                        <a:effectLst/>
                      </a:endParaRPr>
                    </a:p>
                  </a:txBody>
                  <a:tcPr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/>
                      <a:endParaRPr lang="en-US" dirty="0">
                        <a:effectLst/>
                      </a:endParaRPr>
                    </a:p>
                    <a:p>
                      <a:pPr algn="l" rtl="0" fontAlgn="base"/>
                      <a:r>
                        <a:rPr lang="en-US" sz="1100" b="0" i="0" dirty="0" err="1">
                          <a:effectLst/>
                          <a:latin typeface="Calibri" panose="020F0502020204030204" pitchFamily="34" charset="0"/>
                        </a:rPr>
                        <a:t>kr</a:t>
                      </a:r>
                      <a:r>
                        <a:rPr lang="en-US" sz="1100" b="0" i="0" dirty="0">
                          <a:effectLst/>
                          <a:latin typeface="Calibri" panose="020F0502020204030204" pitchFamily="34" charset="0"/>
                        </a:rPr>
                        <a:t> 296 </a:t>
                      </a:r>
                      <a:endParaRPr lang="en-US" b="0" i="0" dirty="0">
                        <a:effectLst/>
                      </a:endParaRPr>
                    </a:p>
                  </a:txBody>
                  <a:tcPr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7129747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fontAlgn="t"/>
                      <a:r>
                        <a:rPr lang="nb-NO" dirty="0">
                          <a:effectLst/>
                        </a:rPr>
                        <a:t>Lunsj:</a:t>
                      </a:r>
                    </a:p>
                    <a:p>
                      <a:pPr algn="l" rtl="0" fontAlgn="base"/>
                      <a:r>
                        <a:rPr lang="nb-NO" sz="1100" b="0" i="0" dirty="0">
                          <a:effectLst/>
                          <a:latin typeface="Calibri" panose="020F0502020204030204" pitchFamily="34" charset="0"/>
                        </a:rPr>
                        <a:t>Mer enn 3 timer i arbeidstiden</a:t>
                      </a:r>
                      <a:r>
                        <a:rPr lang="nb-NO" sz="1100" b="0" i="0" dirty="0">
                          <a:effectLst/>
                          <a:latin typeface="WordVisiCarriageReturn_MSFontService"/>
                        </a:rPr>
                        <a:t> </a:t>
                      </a:r>
                      <a:br>
                        <a:rPr lang="nb-NO" sz="1100" b="0" i="0" dirty="0">
                          <a:effectLst/>
                          <a:latin typeface="WordVisiCarriageReturn_MSFontService"/>
                        </a:rPr>
                      </a:br>
                      <a:r>
                        <a:rPr lang="nb-NO" sz="1100" b="0" i="0" dirty="0">
                          <a:effectLst/>
                          <a:latin typeface="Calibri" panose="020F0502020204030204" pitchFamily="34" charset="0"/>
                        </a:rPr>
                        <a:t>og går inn i lunsjtiden </a:t>
                      </a:r>
                      <a:endParaRPr lang="nb-NO" b="0" i="0" dirty="0">
                        <a:effectLst/>
                      </a:endParaRPr>
                    </a:p>
                  </a:txBody>
                  <a:tcPr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/>
                      <a:endParaRPr lang="en-US" dirty="0">
                        <a:effectLst/>
                      </a:endParaRPr>
                    </a:p>
                    <a:p>
                      <a:pPr algn="l" rtl="0" fontAlgn="base"/>
                      <a:r>
                        <a:rPr lang="en-US" sz="1100" b="0" i="0" dirty="0" err="1">
                          <a:effectLst/>
                          <a:latin typeface="Calibri" panose="020F0502020204030204" pitchFamily="34" charset="0"/>
                        </a:rPr>
                        <a:t>kr</a:t>
                      </a:r>
                      <a:r>
                        <a:rPr lang="en-US" sz="1100" b="0" i="0" dirty="0">
                          <a:effectLst/>
                          <a:latin typeface="Calibri" panose="020F0502020204030204" pitchFamily="34" charset="0"/>
                        </a:rPr>
                        <a:t> 197 </a:t>
                      </a:r>
                      <a:endParaRPr lang="en-US" b="0" i="0" dirty="0">
                        <a:effectLst/>
                      </a:endParaRPr>
                    </a:p>
                  </a:txBody>
                  <a:tcPr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/>
                      <a:endParaRPr lang="en-US">
                        <a:effectLst/>
                      </a:endParaRPr>
                    </a:p>
                    <a:p>
                      <a:pPr algn="l" rtl="0" fontAlgn="base"/>
                      <a:r>
                        <a:rPr lang="en-US" sz="1100" b="0" i="0">
                          <a:effectLst/>
                          <a:latin typeface="Calibri" panose="020F0502020204030204" pitchFamily="34" charset="0"/>
                        </a:rPr>
                        <a:t>kr 296 </a:t>
                      </a:r>
                      <a:endParaRPr lang="en-US" b="0" i="0">
                        <a:effectLst/>
                      </a:endParaRPr>
                    </a:p>
                  </a:txBody>
                  <a:tcPr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8930778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fontAlgn="t"/>
                      <a:r>
                        <a:rPr lang="nb-NO" dirty="0">
                          <a:effectLst/>
                        </a:rPr>
                        <a:t>Middag: </a:t>
                      </a:r>
                    </a:p>
                    <a:p>
                      <a:pPr algn="l" rtl="0" fontAlgn="base"/>
                      <a:r>
                        <a:rPr lang="nb-NO" sz="1100" b="0" i="0" dirty="0">
                          <a:effectLst/>
                          <a:latin typeface="Calibri" panose="020F0502020204030204" pitchFamily="34" charset="0"/>
                        </a:rPr>
                        <a:t>Mer enn 3 timer og utover arbeidstiden </a:t>
                      </a:r>
                      <a:endParaRPr lang="nb-NO" b="0" i="0" dirty="0">
                        <a:effectLst/>
                      </a:endParaRPr>
                    </a:p>
                  </a:txBody>
                  <a:tcPr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/>
                      <a:endParaRPr lang="en-US" dirty="0">
                        <a:effectLst/>
                      </a:endParaRPr>
                    </a:p>
                    <a:p>
                      <a:pPr algn="l" rtl="0" fontAlgn="base"/>
                      <a:r>
                        <a:rPr lang="en-US" sz="1100" b="0" i="0" dirty="0" err="1">
                          <a:effectLst/>
                          <a:latin typeface="Calibri" panose="020F0502020204030204" pitchFamily="34" charset="0"/>
                        </a:rPr>
                        <a:t>kr</a:t>
                      </a:r>
                      <a:r>
                        <a:rPr lang="en-US" sz="1100" b="0" i="0" dirty="0">
                          <a:effectLst/>
                          <a:latin typeface="Calibri" panose="020F0502020204030204" pitchFamily="34" charset="0"/>
                        </a:rPr>
                        <a:t> 446 </a:t>
                      </a:r>
                      <a:endParaRPr lang="en-US" b="0" i="0" dirty="0">
                        <a:effectLst/>
                      </a:endParaRPr>
                    </a:p>
                  </a:txBody>
                  <a:tcPr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/>
                      <a:endParaRPr lang="en-US">
                        <a:effectLst/>
                      </a:endParaRPr>
                    </a:p>
                    <a:p>
                      <a:pPr algn="l" rtl="0" fontAlgn="base"/>
                      <a:r>
                        <a:rPr lang="en-US" sz="1100" b="0" i="0">
                          <a:effectLst/>
                          <a:latin typeface="Calibri" panose="020F0502020204030204" pitchFamily="34" charset="0"/>
                        </a:rPr>
                        <a:t>kr 669 </a:t>
                      </a:r>
                      <a:endParaRPr lang="en-US" b="0" i="0">
                        <a:effectLst/>
                      </a:endParaRPr>
                    </a:p>
                  </a:txBody>
                  <a:tcPr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0882818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fontAlgn="t"/>
                      <a:r>
                        <a:rPr lang="en-US" dirty="0" err="1">
                          <a:effectLst/>
                        </a:rPr>
                        <a:t>Heldag</a:t>
                      </a:r>
                      <a:r>
                        <a:rPr lang="en-US" dirty="0">
                          <a:effectLst/>
                        </a:rPr>
                        <a:t>(</a:t>
                      </a:r>
                      <a:r>
                        <a:rPr lang="en-US" dirty="0" err="1">
                          <a:effectLst/>
                        </a:rPr>
                        <a:t>Lunsj+middag</a:t>
                      </a:r>
                      <a:r>
                        <a:rPr lang="en-US" dirty="0">
                          <a:effectLst/>
                        </a:rPr>
                        <a:t>) </a:t>
                      </a:r>
                    </a:p>
                    <a:p>
                      <a:pPr algn="l" rtl="0" fontAlgn="base"/>
                      <a:r>
                        <a:rPr lang="en-US" sz="1100" b="0" i="0" dirty="0" err="1">
                          <a:effectLst/>
                          <a:latin typeface="Calibri" panose="020F0502020204030204" pitchFamily="34" charset="0"/>
                        </a:rPr>
                        <a:t>Langvarig</a:t>
                      </a:r>
                      <a:r>
                        <a:rPr lang="en-US" sz="1100" b="0" i="0" dirty="0"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100" b="0" i="0" dirty="0" err="1">
                          <a:effectLst/>
                          <a:latin typeface="Calibri" panose="020F0502020204030204" pitchFamily="34" charset="0"/>
                        </a:rPr>
                        <a:t>og</a:t>
                      </a:r>
                      <a:r>
                        <a:rPr lang="en-US" sz="1100" b="0" i="0" dirty="0"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100" b="0" i="0" dirty="0" err="1">
                          <a:effectLst/>
                          <a:latin typeface="Calibri" panose="020F0502020204030204" pitchFamily="34" charset="0"/>
                        </a:rPr>
                        <a:t>nødvendig</a:t>
                      </a:r>
                      <a:r>
                        <a:rPr lang="en-US" sz="1100" b="0" i="0" dirty="0">
                          <a:effectLst/>
                          <a:latin typeface="Calibri" panose="020F0502020204030204" pitchFamily="34" charset="0"/>
                        </a:rPr>
                        <a:t> med to </a:t>
                      </a:r>
                      <a:r>
                        <a:rPr lang="en-US" sz="1100" b="0" i="0" dirty="0" err="1">
                          <a:effectLst/>
                          <a:latin typeface="Calibri" panose="020F0502020204030204" pitchFamily="34" charset="0"/>
                        </a:rPr>
                        <a:t>serveringer</a:t>
                      </a:r>
                      <a:r>
                        <a:rPr lang="en-US" sz="1100" b="0" i="0" dirty="0"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en-US" b="0" i="0" dirty="0">
                        <a:effectLst/>
                      </a:endParaRPr>
                    </a:p>
                    <a:p>
                      <a:pPr algn="l" rtl="0" fontAlgn="base"/>
                      <a:r>
                        <a:rPr lang="en-US" sz="1100" b="0" i="0" dirty="0">
                          <a:effectLst/>
                          <a:latin typeface="Calibri" panose="020F0502020204030204" pitchFamily="34" charset="0"/>
                        </a:rPr>
                        <a:t>(</a:t>
                      </a:r>
                      <a:r>
                        <a:rPr lang="en-US" sz="1100" b="0" i="0" dirty="0" err="1">
                          <a:effectLst/>
                          <a:latin typeface="Calibri" panose="020F0502020204030204" pitchFamily="34" charset="0"/>
                        </a:rPr>
                        <a:t>Siden</a:t>
                      </a:r>
                      <a:r>
                        <a:rPr lang="en-US" sz="1100" b="0" i="0" dirty="0"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100" b="0" i="0" dirty="0" err="1">
                          <a:effectLst/>
                          <a:latin typeface="Calibri" panose="020F0502020204030204" pitchFamily="34" charset="0"/>
                        </a:rPr>
                        <a:t>lunsj</a:t>
                      </a:r>
                      <a:r>
                        <a:rPr lang="en-US" sz="1100" b="0" i="0" dirty="0"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100" b="0" i="0" dirty="0" err="1">
                          <a:effectLst/>
                          <a:latin typeface="Calibri" panose="020F0502020204030204" pitchFamily="34" charset="0"/>
                        </a:rPr>
                        <a:t>inntas</a:t>
                      </a:r>
                      <a:r>
                        <a:rPr lang="en-US" sz="1100" b="0" i="0" dirty="0"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100" b="0" i="0" dirty="0" err="1">
                          <a:effectLst/>
                          <a:latin typeface="Calibri" panose="020F0502020204030204" pitchFamily="34" charset="0"/>
                        </a:rPr>
                        <a:t>i</a:t>
                      </a:r>
                      <a:r>
                        <a:rPr lang="en-US" sz="1100" b="0" i="0" dirty="0">
                          <a:effectLst/>
                          <a:latin typeface="Calibri" panose="020F0502020204030204" pitchFamily="34" charset="0"/>
                        </a:rPr>
                        <a:t> UIOs </a:t>
                      </a:r>
                      <a:r>
                        <a:rPr lang="en-US" sz="1100" b="0" i="0" dirty="0" err="1">
                          <a:effectLst/>
                          <a:latin typeface="Calibri" panose="020F0502020204030204" pitchFamily="34" charset="0"/>
                        </a:rPr>
                        <a:t>lokaler</a:t>
                      </a:r>
                      <a:r>
                        <a:rPr lang="en-US" sz="1100" b="0" i="0" dirty="0">
                          <a:effectLst/>
                          <a:latin typeface="Calibri" panose="020F0502020204030204" pitchFamily="34" charset="0"/>
                        </a:rPr>
                        <a:t>, </a:t>
                      </a:r>
                      <a:endParaRPr lang="en-US" b="0" i="0" dirty="0">
                        <a:effectLst/>
                      </a:endParaRPr>
                    </a:p>
                    <a:p>
                      <a:pPr algn="l" rtl="0" fontAlgn="base"/>
                      <a:r>
                        <a:rPr lang="en-US" sz="1100" b="0" i="0" dirty="0">
                          <a:effectLst/>
                          <a:latin typeface="Calibri" panose="020F0502020204030204" pitchFamily="34" charset="0"/>
                        </a:rPr>
                        <a:t>men </a:t>
                      </a:r>
                      <a:r>
                        <a:rPr lang="en-US" sz="1100" b="0" i="0" dirty="0" err="1">
                          <a:effectLst/>
                          <a:latin typeface="Calibri" panose="020F0502020204030204" pitchFamily="34" charset="0"/>
                        </a:rPr>
                        <a:t>middag</a:t>
                      </a:r>
                      <a:r>
                        <a:rPr lang="en-US" sz="1100" b="0" i="0" dirty="0"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100" b="0" i="0" dirty="0" err="1">
                          <a:effectLst/>
                          <a:latin typeface="Calibri" panose="020F0502020204030204" pitchFamily="34" charset="0"/>
                        </a:rPr>
                        <a:t>på</a:t>
                      </a:r>
                      <a:r>
                        <a:rPr lang="en-US" sz="1100" b="0" i="0" dirty="0">
                          <a:effectLst/>
                          <a:latin typeface="Calibri" panose="020F0502020204030204" pitchFamily="34" charset="0"/>
                        </a:rPr>
                        <a:t> restaurant, </a:t>
                      </a:r>
                      <a:r>
                        <a:rPr lang="en-US" sz="1100" b="0" i="0" dirty="0" err="1">
                          <a:effectLst/>
                          <a:latin typeface="Calibri" panose="020F0502020204030204" pitchFamily="34" charset="0"/>
                        </a:rPr>
                        <a:t>splittes</a:t>
                      </a:r>
                      <a:r>
                        <a:rPr lang="en-US" sz="1100" b="0" i="0" dirty="0"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100" b="0" i="0" dirty="0" err="1">
                          <a:effectLst/>
                          <a:latin typeface="Calibri" panose="020F0502020204030204" pitchFamily="34" charset="0"/>
                        </a:rPr>
                        <a:t>satsen</a:t>
                      </a:r>
                      <a:r>
                        <a:rPr lang="en-US" sz="1100" b="0" i="0" dirty="0"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100" b="0" i="0" dirty="0" err="1">
                          <a:effectLst/>
                          <a:latin typeface="Calibri" panose="020F0502020204030204" pitchFamily="34" charset="0"/>
                        </a:rPr>
                        <a:t>ved</a:t>
                      </a:r>
                      <a:r>
                        <a:rPr lang="en-US" sz="1100" b="0" i="0" dirty="0"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100" b="0" i="0" dirty="0" err="1">
                          <a:effectLst/>
                          <a:latin typeface="Calibri" panose="020F0502020204030204" pitchFamily="34" charset="0"/>
                        </a:rPr>
                        <a:t>heldagsarrangement</a:t>
                      </a:r>
                      <a:r>
                        <a:rPr lang="en-US" sz="1100" b="0" i="0" dirty="0"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100" b="0" i="0" dirty="0" err="1">
                          <a:effectLst/>
                          <a:latin typeface="Calibri" panose="020F0502020204030204" pitchFamily="34" charset="0"/>
                        </a:rPr>
                        <a:t>på</a:t>
                      </a:r>
                      <a:r>
                        <a:rPr lang="en-US" sz="1100" b="0" i="0" dirty="0"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en-US" b="0" i="0" dirty="0">
                        <a:effectLst/>
                      </a:endParaRPr>
                    </a:p>
                    <a:p>
                      <a:pPr algn="l" rtl="0" fontAlgn="base"/>
                      <a:r>
                        <a:rPr lang="en-US" sz="1100" b="0" i="0" dirty="0" err="1">
                          <a:effectLst/>
                          <a:latin typeface="Calibri" panose="020F0502020204030204" pitchFamily="34" charset="0"/>
                        </a:rPr>
                        <a:t>følgende</a:t>
                      </a:r>
                      <a:r>
                        <a:rPr lang="en-US" sz="1100" b="0" i="0" dirty="0">
                          <a:effectLst/>
                          <a:latin typeface="Calibri" panose="020F0502020204030204" pitchFamily="34" charset="0"/>
                        </a:rPr>
                        <a:t> vis: 197 </a:t>
                      </a:r>
                      <a:r>
                        <a:rPr lang="en-US" sz="1100" b="0" i="0" dirty="0" err="1">
                          <a:effectLst/>
                          <a:latin typeface="Calibri" panose="020F0502020204030204" pitchFamily="34" charset="0"/>
                        </a:rPr>
                        <a:t>til</a:t>
                      </a:r>
                      <a:r>
                        <a:rPr lang="en-US" sz="1100" b="0" i="0" dirty="0"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100" b="0" i="0" dirty="0" err="1">
                          <a:effectLst/>
                          <a:latin typeface="Calibri" panose="020F0502020204030204" pitchFamily="34" charset="0"/>
                        </a:rPr>
                        <a:t>lunsj</a:t>
                      </a:r>
                      <a:r>
                        <a:rPr lang="en-US" sz="1100" b="0" i="0" dirty="0"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100" b="0" i="0" dirty="0" err="1">
                          <a:effectLst/>
                          <a:latin typeface="Calibri" panose="020F0502020204030204" pitchFamily="34" charset="0"/>
                        </a:rPr>
                        <a:t>i</a:t>
                      </a:r>
                      <a:r>
                        <a:rPr lang="en-US" sz="1100" b="0" i="0" dirty="0">
                          <a:effectLst/>
                          <a:latin typeface="Calibri" panose="020F0502020204030204" pitchFamily="34" charset="0"/>
                        </a:rPr>
                        <a:t> UIOs </a:t>
                      </a:r>
                      <a:r>
                        <a:rPr lang="en-US" sz="1100" b="0" i="0" dirty="0" err="1">
                          <a:effectLst/>
                          <a:latin typeface="Calibri" panose="020F0502020204030204" pitchFamily="34" charset="0"/>
                        </a:rPr>
                        <a:t>lokaler</a:t>
                      </a:r>
                      <a:r>
                        <a:rPr lang="en-US" sz="1100" b="0" i="0" dirty="0">
                          <a:effectLst/>
                          <a:latin typeface="Calibri" panose="020F0502020204030204" pitchFamily="34" charset="0"/>
                        </a:rPr>
                        <a:t>, 669 </a:t>
                      </a:r>
                      <a:r>
                        <a:rPr lang="en-US" sz="1100" b="0" i="0" dirty="0" err="1">
                          <a:effectLst/>
                          <a:latin typeface="Calibri" panose="020F0502020204030204" pitchFamily="34" charset="0"/>
                        </a:rPr>
                        <a:t>til</a:t>
                      </a:r>
                      <a:r>
                        <a:rPr lang="en-US" sz="1100" b="0" i="0" dirty="0"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100" b="0" i="0" dirty="0" err="1">
                          <a:effectLst/>
                          <a:latin typeface="Calibri" panose="020F0502020204030204" pitchFamily="34" charset="0"/>
                        </a:rPr>
                        <a:t>restaurantmiddag</a:t>
                      </a:r>
                      <a:r>
                        <a:rPr lang="en-US" sz="1100" b="0" i="0" dirty="0">
                          <a:effectLst/>
                          <a:latin typeface="Calibri" panose="020F0502020204030204" pitchFamily="34" charset="0"/>
                        </a:rPr>
                        <a:t>)  </a:t>
                      </a:r>
                      <a:endParaRPr lang="en-US" b="0" i="0" dirty="0">
                        <a:effectLst/>
                      </a:endParaRPr>
                    </a:p>
                  </a:txBody>
                  <a:tcPr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/>
                      <a:endParaRPr lang="en-US" dirty="0">
                        <a:effectLst/>
                      </a:endParaRPr>
                    </a:p>
                    <a:p>
                      <a:pPr algn="l" rtl="0" fontAlgn="base"/>
                      <a:r>
                        <a:rPr lang="en-US" sz="1100" b="0" i="0" strike="sngStrike" dirty="0" err="1">
                          <a:effectLst/>
                          <a:latin typeface="Calibri" panose="020F0502020204030204" pitchFamily="34" charset="0"/>
                        </a:rPr>
                        <a:t>kr</a:t>
                      </a:r>
                      <a:r>
                        <a:rPr lang="en-US" sz="1100" b="0" i="0" strike="sngStrike" dirty="0">
                          <a:effectLst/>
                          <a:latin typeface="Calibri" panose="020F0502020204030204" pitchFamily="34" charset="0"/>
                        </a:rPr>
                        <a:t> 652</a:t>
                      </a:r>
                      <a:r>
                        <a:rPr lang="en-US" sz="1100" b="0" i="0" dirty="0"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en-US" b="0" i="0" dirty="0">
                        <a:effectLst/>
                      </a:endParaRPr>
                    </a:p>
                  </a:txBody>
                  <a:tcPr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t"/>
                      <a:endParaRPr lang="en-US" dirty="0">
                        <a:effectLst/>
                      </a:endParaRPr>
                    </a:p>
                    <a:p>
                      <a:pPr algn="l" rtl="0" fontAlgn="base"/>
                      <a:r>
                        <a:rPr lang="en-US" sz="1100" b="0" i="0" strike="sngStrike" dirty="0" err="1">
                          <a:effectLst/>
                          <a:latin typeface="Calibri" panose="020F0502020204030204" pitchFamily="34" charset="0"/>
                        </a:rPr>
                        <a:t>kr</a:t>
                      </a:r>
                      <a:r>
                        <a:rPr lang="en-US" sz="1100" b="0" i="0" strike="sngStrike" dirty="0">
                          <a:effectLst/>
                          <a:latin typeface="Calibri" panose="020F0502020204030204" pitchFamily="34" charset="0"/>
                        </a:rPr>
                        <a:t> 979</a:t>
                      </a:r>
                      <a:r>
                        <a:rPr lang="en-US" sz="1100" b="0" i="0" dirty="0"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en-US" b="0" i="0" dirty="0">
                        <a:effectLst/>
                      </a:endParaRPr>
                    </a:p>
                  </a:txBody>
                  <a:tcPr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82238738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1A52F727-0BDF-6751-F694-76EA954E0E9C}"/>
              </a:ext>
            </a:extLst>
          </p:cNvPr>
          <p:cNvSpPr txBox="1"/>
          <p:nvPr/>
        </p:nvSpPr>
        <p:spPr>
          <a:xfrm>
            <a:off x="2083704" y="803793"/>
            <a:ext cx="609600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 err="1"/>
              <a:t>Følgende</a:t>
            </a:r>
            <a:r>
              <a:rPr lang="en-US" dirty="0"/>
              <a:t> </a:t>
            </a:r>
            <a:r>
              <a:rPr lang="en-US" dirty="0" err="1"/>
              <a:t>satser</a:t>
            </a:r>
            <a:r>
              <a:rPr lang="en-US" dirty="0"/>
              <a:t> for </a:t>
            </a:r>
            <a:r>
              <a:rPr lang="en-US" dirty="0" err="1"/>
              <a:t>arrangementer</a:t>
            </a:r>
            <a:r>
              <a:rPr lang="en-US" dirty="0"/>
              <a:t> av </a:t>
            </a:r>
            <a:r>
              <a:rPr lang="en-US" dirty="0" err="1"/>
              <a:t>ulik</a:t>
            </a:r>
            <a:r>
              <a:rPr lang="en-US" dirty="0"/>
              <a:t> </a:t>
            </a:r>
            <a:r>
              <a:rPr lang="en-US" dirty="0" err="1"/>
              <a:t>lengde</a:t>
            </a:r>
            <a:r>
              <a:rPr lang="en-US" dirty="0"/>
              <a:t> </a:t>
            </a:r>
            <a:r>
              <a:rPr lang="en-US" dirty="0" err="1"/>
              <a:t>gjelder</a:t>
            </a:r>
            <a:r>
              <a:rPr lang="en-US" dirty="0"/>
              <a:t>( per sept. 2022) </a:t>
            </a:r>
          </a:p>
        </p:txBody>
      </p:sp>
    </p:spTree>
    <p:extLst>
      <p:ext uri="{BB962C8B-B14F-4D97-AF65-F5344CB8AC3E}">
        <p14:creationId xmlns:p14="http://schemas.microsoft.com/office/powerpoint/2010/main" val="116517555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innhold 1">
            <a:extLst>
              <a:ext uri="{FF2B5EF4-FFF2-40B4-BE49-F238E27FC236}">
                <a16:creationId xmlns:a16="http://schemas.microsoft.com/office/drawing/2014/main" id="{B4323BF8-9BEF-4CA8-B992-FDEA7158BEA0}"/>
              </a:ext>
            </a:extLst>
          </p:cNvPr>
          <p:cNvSpPr>
            <a:spLocks noGrp="1"/>
          </p:cNvSpPr>
          <p:nvPr>
            <p:ph sz="quarter" idx="28"/>
          </p:nvPr>
        </p:nvSpPr>
        <p:spPr/>
        <p:txBody>
          <a:bodyPr vert="horz" lIns="0" tIns="0" rIns="0" bIns="0" rtlCol="0" anchor="t"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700" b="1" dirty="0"/>
              <a:t>Før du engang tenker på å bestille noe som helst: KONTAKT reisebestiller (Vetle, </a:t>
            </a:r>
            <a:r>
              <a:rPr lang="nb-NO" sz="1700" dirty="0">
                <a:ea typeface="+mn-lt"/>
                <a:cs typeface="+mn-lt"/>
                <a:hlinkClick r:id="rId2"/>
              </a:rPr>
              <a:t>v.s.lovbakken@ikos.uio.no</a:t>
            </a:r>
            <a:r>
              <a:rPr lang="nb-NO" sz="1700" b="1" dirty="0"/>
              <a:t>) for hjelp og veiledning. Som ansatt får man ikke bestille noe uten samtykke fra institutte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700" dirty="0"/>
              <a:t>I prinsippet skal alle reiser bestilles gjennom Berg-Hansen reisebyrå. </a:t>
            </a:r>
            <a:endParaRPr lang="nb-NO" sz="1700" dirty="0"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700" dirty="0"/>
              <a:t>Ved bestilling av reise til gjester er tommelfingerregelen at reisebestiller bestiller til alle med unntak.</a:t>
            </a:r>
            <a:endParaRPr lang="nb-NO" sz="1700" dirty="0"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700" dirty="0"/>
              <a:t>VI BRUKES FØRST OG FREMST </a:t>
            </a:r>
            <a:r>
              <a:rPr lang="nb-NO" sz="1700" dirty="0" err="1"/>
              <a:t>UIOs</a:t>
            </a:r>
            <a:r>
              <a:rPr lang="nb-NO" sz="1700" dirty="0"/>
              <a:t> LOKALER TIL ARRANGEMENTER! Ta kontakt med administrasjonen (</a:t>
            </a:r>
            <a:r>
              <a:rPr lang="nb-NO" sz="1700" dirty="0">
                <a:hlinkClick r:id="rId3"/>
              </a:rPr>
              <a:t>tarjeibr@ikos.uio.no</a:t>
            </a:r>
            <a:r>
              <a:rPr lang="nb-NO" sz="1700" dirty="0"/>
              <a:t>) dersom dere planlegger et større arrangement (konferanser osv.). </a:t>
            </a:r>
            <a:endParaRPr lang="nb-NO" sz="1700" dirty="0"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700" dirty="0"/>
              <a:t>Merk at vi må forholde oss til gjeldende avbestillingsregler. Kontakt reisebestiller dersom dere får beskjed om kansellering.</a:t>
            </a:r>
            <a:endParaRPr lang="nb-NO" sz="1700" dirty="0"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700" dirty="0"/>
              <a:t>Man kan bestille hoteller til avtalepris og ha konferansen på UiO.</a:t>
            </a:r>
            <a:endParaRPr lang="nb-NO" sz="1700" dirty="0"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180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1800"/>
          </a:p>
          <a:p>
            <a:pPr marL="125095" indent="-125095"/>
            <a:endParaRPr lang="nb-NO" sz="1800">
              <a:cs typeface="Arial"/>
            </a:endParaRPr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F3487471-2F4C-4705-A4CB-63ABBD53CCC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1F06F3BC-FA4C-4486-B596-9FEED208CE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16</a:t>
            </a:fld>
            <a:endParaRPr lang="en-US"/>
          </a:p>
        </p:txBody>
      </p:sp>
      <p:sp>
        <p:nvSpPr>
          <p:cNvPr id="5" name="Tittel 4">
            <a:extLst>
              <a:ext uri="{FF2B5EF4-FFF2-40B4-BE49-F238E27FC236}">
                <a16:creationId xmlns:a16="http://schemas.microsoft.com/office/drawing/2014/main" id="{3B295E55-C19F-41D9-B186-6D64E9F1A2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z="3200"/>
              <a:t>3. Rutiner for bestilling av reiser</a:t>
            </a:r>
          </a:p>
        </p:txBody>
      </p:sp>
    </p:spTree>
    <p:extLst>
      <p:ext uri="{BB962C8B-B14F-4D97-AF65-F5344CB8AC3E}">
        <p14:creationId xmlns:p14="http://schemas.microsoft.com/office/powerpoint/2010/main" val="87778189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innhold 1">
            <a:extLst>
              <a:ext uri="{FF2B5EF4-FFF2-40B4-BE49-F238E27FC236}">
                <a16:creationId xmlns:a16="http://schemas.microsoft.com/office/drawing/2014/main" id="{C53CE54E-2DFF-4B39-BFCE-F61FF6A14B1F}"/>
              </a:ext>
            </a:extLst>
          </p:cNvPr>
          <p:cNvSpPr>
            <a:spLocks noGrp="1"/>
          </p:cNvSpPr>
          <p:nvPr>
            <p:ph sz="quarter" idx="28"/>
          </p:nvPr>
        </p:nvSpPr>
        <p:spPr/>
        <p:txBody>
          <a:bodyPr vert="horz" lIns="0" tIns="0" rIns="0" bIns="0" rtlCol="0" anchor="t"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b="1" dirty="0"/>
              <a:t>Før du engang tenker på å refundere noe som helst: KONTAKT </a:t>
            </a:r>
            <a:r>
              <a:rPr lang="nb-NO" sz="1400" b="1" dirty="0">
                <a:hlinkClick r:id="rId2"/>
              </a:rPr>
              <a:t>tarjeibr@ikos.uio.no</a:t>
            </a:r>
            <a:r>
              <a:rPr lang="nb-NO" sz="1400" b="1" dirty="0"/>
              <a:t> for hjelp og veiledning. Som ansatt får man ikke refundere noe uten samtykke fra instituttet.</a:t>
            </a:r>
            <a:endParaRPr lang="nb-NO" sz="1400" b="1"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600" dirty="0">
                <a:cs typeface="Arial"/>
              </a:rPr>
              <a:t>Dersom du hører snakk om honorar, så skal ikke du som vit.ass. gjøre noe annet enn å samle inn informasjonen du finner på neste lysark og sende dette til </a:t>
            </a:r>
            <a:r>
              <a:rPr lang="nb-NO" sz="1600" dirty="0">
                <a:ea typeface="+mn-lt"/>
                <a:cs typeface="+mn-lt"/>
                <a:hlinkClick r:id="rId3"/>
              </a:rPr>
              <a:t>f-team@ikos.uio.no</a:t>
            </a:r>
            <a:r>
              <a:rPr lang="nb-NO" sz="1600" dirty="0">
                <a:cs typeface="Arial"/>
              </a:rPr>
              <a:t>. 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600" dirty="0">
                <a:cs typeface="Arial"/>
              </a:rPr>
              <a:t>Dersom det er snakk om refusjon, se følgende eksempel på hva dere skal samle inn:</a:t>
            </a:r>
          </a:p>
          <a:p>
            <a:pPr marL="846455" lvl="1" indent="-285750">
              <a:buFont typeface="Arial" panose="020B0604020202020204" pitchFamily="34" charset="0"/>
              <a:buChar char="•"/>
            </a:pPr>
            <a:r>
              <a:rPr lang="nb-NO" sz="1400" dirty="0">
                <a:cs typeface="Arial"/>
              </a:rPr>
              <a:t>Merk at det kan være nødvendig å understreke at refusjon utbetales ETTER endt reise/oppdrag.</a:t>
            </a:r>
          </a:p>
          <a:p>
            <a:pPr marL="846455" lvl="1" indent="-285750">
              <a:buFont typeface="Arial" panose="020B0604020202020204" pitchFamily="34" charset="0"/>
              <a:buChar char="•"/>
            </a:pPr>
            <a:r>
              <a:rPr lang="nb-NO" sz="1400" dirty="0">
                <a:cs typeface="Arial"/>
              </a:rPr>
              <a:t>Merk at vi kun refunderer billigste billettype og at vi ikke refunderer taxiutgifter.</a:t>
            </a:r>
          </a:p>
          <a:p>
            <a:pPr marL="0" indent="0">
              <a:spcBef>
                <a:spcPts val="0"/>
              </a:spcBef>
            </a:pPr>
            <a:r>
              <a:rPr lang="nb-NO" sz="1200" dirty="0">
                <a:cs typeface="Arial"/>
              </a:rPr>
              <a:t>Reimbursement: </a:t>
            </a:r>
          </a:p>
          <a:p>
            <a:pPr marL="0" indent="0">
              <a:spcBef>
                <a:spcPts val="0"/>
              </a:spcBef>
            </a:pPr>
            <a:r>
              <a:rPr lang="nb-NO" sz="1200" b="1" dirty="0">
                <a:cs typeface="Arial"/>
              </a:rPr>
              <a:t>UiO </a:t>
            </a:r>
            <a:r>
              <a:rPr lang="nb-NO" sz="1200" b="1" dirty="0" err="1">
                <a:cs typeface="Arial"/>
              </a:rPr>
              <a:t>employees</a:t>
            </a:r>
            <a:r>
              <a:rPr lang="nb-NO" sz="1200" b="1" dirty="0">
                <a:cs typeface="Arial"/>
              </a:rPr>
              <a:t>:</a:t>
            </a:r>
            <a:r>
              <a:rPr lang="nb-NO" sz="1200" dirty="0">
                <a:cs typeface="Arial"/>
              </a:rPr>
              <a:t> </a:t>
            </a:r>
            <a:r>
              <a:rPr lang="nb-NO" sz="1200" dirty="0" err="1">
                <a:cs typeface="Arial"/>
              </a:rPr>
              <a:t>please</a:t>
            </a:r>
            <a:r>
              <a:rPr lang="nb-NO" sz="1200" dirty="0">
                <a:cs typeface="Arial"/>
              </a:rPr>
              <a:t> book </a:t>
            </a:r>
            <a:r>
              <a:rPr lang="nb-NO" sz="1200" dirty="0" err="1">
                <a:cs typeface="Arial"/>
              </a:rPr>
              <a:t>your</a:t>
            </a:r>
            <a:r>
              <a:rPr lang="nb-NO" sz="1200" dirty="0">
                <a:cs typeface="Arial"/>
              </a:rPr>
              <a:t> travels via Berg-Hansen and </a:t>
            </a:r>
            <a:r>
              <a:rPr lang="nb-NO" sz="1200" dirty="0" err="1">
                <a:cs typeface="Arial"/>
              </a:rPr>
              <a:t>submit</a:t>
            </a:r>
            <a:r>
              <a:rPr lang="nb-NO" sz="1200" dirty="0">
                <a:cs typeface="Arial"/>
              </a:rPr>
              <a:t> </a:t>
            </a:r>
            <a:r>
              <a:rPr lang="nb-NO" sz="1200" dirty="0" err="1">
                <a:cs typeface="Arial"/>
              </a:rPr>
              <a:t>your</a:t>
            </a:r>
            <a:r>
              <a:rPr lang="nb-NO" sz="1200" dirty="0">
                <a:cs typeface="Arial"/>
              </a:rPr>
              <a:t> reimbursement </a:t>
            </a:r>
            <a:r>
              <a:rPr lang="nb-NO" sz="1200" dirty="0" err="1">
                <a:cs typeface="Arial"/>
              </a:rPr>
              <a:t>claim</a:t>
            </a:r>
            <a:r>
              <a:rPr lang="nb-NO" sz="1200" dirty="0">
                <a:cs typeface="Arial"/>
              </a:rPr>
              <a:t> in </a:t>
            </a:r>
            <a:r>
              <a:rPr lang="nb-NO" sz="1200" dirty="0" err="1">
                <a:cs typeface="Arial"/>
              </a:rPr>
              <a:t>self</a:t>
            </a:r>
            <a:r>
              <a:rPr lang="nb-NO" sz="1200" dirty="0">
                <a:cs typeface="Arial"/>
              </a:rPr>
              <a:t>-service portal (DFØ) </a:t>
            </a:r>
            <a:r>
              <a:rPr lang="nb-NO" sz="1200" dirty="0" err="1">
                <a:cs typeface="Arial"/>
              </a:rPr>
              <a:t>within</a:t>
            </a:r>
            <a:r>
              <a:rPr lang="nb-NO" sz="1200" dirty="0">
                <a:cs typeface="Arial"/>
              </a:rPr>
              <a:t> 1 </a:t>
            </a:r>
            <a:r>
              <a:rPr lang="nb-NO" sz="1200" dirty="0" err="1">
                <a:cs typeface="Arial"/>
              </a:rPr>
              <a:t>month</a:t>
            </a:r>
            <a:r>
              <a:rPr lang="nb-NO" sz="1200" dirty="0">
                <a:cs typeface="Arial"/>
              </a:rPr>
              <a:t> </a:t>
            </a:r>
            <a:r>
              <a:rPr lang="nb-NO" sz="1200" dirty="0" err="1">
                <a:cs typeface="Arial"/>
              </a:rPr>
              <a:t>of</a:t>
            </a:r>
            <a:r>
              <a:rPr lang="nb-NO" sz="1200" dirty="0">
                <a:cs typeface="Arial"/>
              </a:rPr>
              <a:t> travel end. Koststed: 14200000, delprosjekt: </a:t>
            </a:r>
            <a:r>
              <a:rPr lang="nb-NO" sz="1200" dirty="0">
                <a:ea typeface="+mn-lt"/>
                <a:cs typeface="+mn-lt"/>
              </a:rPr>
              <a:t>**********</a:t>
            </a:r>
            <a:r>
              <a:rPr lang="nb-NO" sz="1200" dirty="0">
                <a:cs typeface="Arial"/>
              </a:rPr>
              <a:t>. If </a:t>
            </a:r>
            <a:r>
              <a:rPr lang="nb-NO" sz="1200" dirty="0" err="1">
                <a:cs typeface="Arial"/>
              </a:rPr>
              <a:t>the</a:t>
            </a:r>
            <a:r>
              <a:rPr lang="nb-NO" sz="1200" dirty="0">
                <a:cs typeface="Arial"/>
              </a:rPr>
              <a:t> system </a:t>
            </a:r>
            <a:r>
              <a:rPr lang="nb-NO" sz="1200" dirty="0" err="1">
                <a:cs typeface="Arial"/>
              </a:rPr>
              <a:t>does</a:t>
            </a:r>
            <a:r>
              <a:rPr lang="nb-NO" sz="1200" dirty="0">
                <a:cs typeface="Arial"/>
              </a:rPr>
              <a:t> not </a:t>
            </a:r>
            <a:r>
              <a:rPr lang="nb-NO" sz="1200" dirty="0" err="1">
                <a:cs typeface="Arial"/>
              </a:rPr>
              <a:t>allow</a:t>
            </a:r>
            <a:r>
              <a:rPr lang="nb-NO" sz="1200" dirty="0">
                <a:cs typeface="Arial"/>
              </a:rPr>
              <a:t> </a:t>
            </a:r>
            <a:r>
              <a:rPr lang="nb-NO" sz="1200" dirty="0" err="1">
                <a:cs typeface="Arial"/>
              </a:rPr>
              <a:t>you</a:t>
            </a:r>
            <a:r>
              <a:rPr lang="nb-NO" sz="1200" dirty="0">
                <a:cs typeface="Arial"/>
              </a:rPr>
              <a:t> to </a:t>
            </a:r>
            <a:r>
              <a:rPr lang="nb-NO" sz="1200" dirty="0" err="1">
                <a:cs typeface="Arial"/>
              </a:rPr>
              <a:t>change</a:t>
            </a:r>
            <a:r>
              <a:rPr lang="nb-NO" sz="1200" dirty="0">
                <a:cs typeface="Arial"/>
              </a:rPr>
              <a:t> </a:t>
            </a:r>
            <a:r>
              <a:rPr lang="nb-NO" sz="1200" dirty="0" err="1">
                <a:cs typeface="Arial"/>
              </a:rPr>
              <a:t>the</a:t>
            </a:r>
            <a:r>
              <a:rPr lang="nb-NO" sz="1200" dirty="0">
                <a:cs typeface="Arial"/>
              </a:rPr>
              <a:t> </a:t>
            </a:r>
            <a:r>
              <a:rPr lang="nb-NO" sz="1200" dirty="0" err="1">
                <a:cs typeface="Arial"/>
              </a:rPr>
              <a:t>codes</a:t>
            </a:r>
            <a:r>
              <a:rPr lang="nb-NO" sz="1200" dirty="0">
                <a:cs typeface="Arial"/>
              </a:rPr>
              <a:t>, </a:t>
            </a:r>
            <a:r>
              <a:rPr lang="nb-NO" sz="1200" dirty="0" err="1">
                <a:cs typeface="Arial"/>
              </a:rPr>
              <a:t>insert</a:t>
            </a:r>
            <a:r>
              <a:rPr lang="nb-NO" sz="1200" dirty="0">
                <a:cs typeface="Arial"/>
              </a:rPr>
              <a:t> </a:t>
            </a:r>
            <a:r>
              <a:rPr lang="nb-NO" sz="1200" dirty="0" err="1">
                <a:cs typeface="Arial"/>
              </a:rPr>
              <a:t>them</a:t>
            </a:r>
            <a:r>
              <a:rPr lang="nb-NO" sz="1200" dirty="0">
                <a:cs typeface="Arial"/>
              </a:rPr>
              <a:t> in </a:t>
            </a:r>
            <a:r>
              <a:rPr lang="nb-NO" sz="1200" dirty="0" err="1">
                <a:cs typeface="Arial"/>
              </a:rPr>
              <a:t>the</a:t>
            </a:r>
            <a:r>
              <a:rPr lang="nb-NO" sz="1200" dirty="0">
                <a:cs typeface="Arial"/>
              </a:rPr>
              <a:t> </a:t>
            </a:r>
            <a:r>
              <a:rPr lang="nb-NO" sz="1200" dirty="0" err="1">
                <a:cs typeface="Arial"/>
              </a:rPr>
              <a:t>comment</a:t>
            </a:r>
            <a:r>
              <a:rPr lang="nb-NO" sz="1200" dirty="0">
                <a:cs typeface="Arial"/>
              </a:rPr>
              <a:t> </a:t>
            </a:r>
            <a:r>
              <a:rPr lang="nb-NO" sz="1200" dirty="0" err="1">
                <a:cs typeface="Arial"/>
              </a:rPr>
              <a:t>field</a:t>
            </a:r>
            <a:r>
              <a:rPr lang="nb-NO" sz="1200" dirty="0">
                <a:cs typeface="Arial"/>
              </a:rPr>
              <a:t> </a:t>
            </a:r>
            <a:r>
              <a:rPr lang="nb-NO" sz="1200" dirty="0" err="1">
                <a:cs typeface="Arial"/>
              </a:rPr>
              <a:t>together</a:t>
            </a:r>
            <a:r>
              <a:rPr lang="nb-NO" sz="1200" dirty="0">
                <a:cs typeface="Arial"/>
              </a:rPr>
              <a:t> </a:t>
            </a:r>
            <a:r>
              <a:rPr lang="nb-NO" sz="1200" dirty="0" err="1">
                <a:cs typeface="Arial"/>
              </a:rPr>
              <a:t>with</a:t>
            </a:r>
            <a:r>
              <a:rPr lang="nb-NO" sz="1200" dirty="0">
                <a:cs typeface="Arial"/>
              </a:rPr>
              <a:t> </a:t>
            </a:r>
            <a:r>
              <a:rPr lang="nb-NO" sz="1200" dirty="0" err="1">
                <a:cs typeface="Arial"/>
              </a:rPr>
              <a:t>the</a:t>
            </a:r>
            <a:r>
              <a:rPr lang="nb-NO" sz="1200" dirty="0">
                <a:cs typeface="Arial"/>
              </a:rPr>
              <a:t> </a:t>
            </a:r>
            <a:r>
              <a:rPr lang="nb-NO" sz="1200" dirty="0" err="1">
                <a:cs typeface="Arial"/>
              </a:rPr>
              <a:t>reference</a:t>
            </a:r>
            <a:r>
              <a:rPr lang="nb-NO" sz="1200" dirty="0">
                <a:cs typeface="Arial"/>
              </a:rPr>
              <a:t> to </a:t>
            </a:r>
            <a:r>
              <a:rPr lang="nb-NO" sz="1200" dirty="0" err="1">
                <a:cs typeface="Arial"/>
              </a:rPr>
              <a:t>Sathya</a:t>
            </a:r>
            <a:r>
              <a:rPr lang="nb-NO" sz="1200" dirty="0">
                <a:cs typeface="Arial"/>
              </a:rPr>
              <a:t> </a:t>
            </a:r>
            <a:r>
              <a:rPr lang="nb-NO" sz="1200" dirty="0" err="1">
                <a:cs typeface="Arial"/>
              </a:rPr>
              <a:t>Sritharan</a:t>
            </a:r>
            <a:r>
              <a:rPr lang="nb-NO" sz="1200" dirty="0">
                <a:cs typeface="Arial"/>
              </a:rPr>
              <a:t>. </a:t>
            </a:r>
          </a:p>
          <a:p>
            <a:pPr marL="0" indent="0">
              <a:spcBef>
                <a:spcPts val="0"/>
              </a:spcBef>
            </a:pPr>
            <a:endParaRPr lang="nb-NO" sz="1200" b="1" dirty="0">
              <a:cs typeface="Arial"/>
            </a:endParaRPr>
          </a:p>
          <a:p>
            <a:pPr marL="0" indent="0">
              <a:spcBef>
                <a:spcPts val="0"/>
              </a:spcBef>
            </a:pPr>
            <a:r>
              <a:rPr lang="nb-NO" sz="1200" b="1" dirty="0" err="1">
                <a:cs typeface="Arial"/>
              </a:rPr>
              <a:t>External</a:t>
            </a:r>
            <a:r>
              <a:rPr lang="nb-NO" sz="1200" b="1" dirty="0">
                <a:cs typeface="Arial"/>
              </a:rPr>
              <a:t> </a:t>
            </a:r>
            <a:r>
              <a:rPr lang="nb-NO" sz="1200" b="1" dirty="0" err="1">
                <a:cs typeface="Arial"/>
              </a:rPr>
              <a:t>foreign</a:t>
            </a:r>
            <a:r>
              <a:rPr lang="nb-NO" sz="1200" b="1" dirty="0">
                <a:cs typeface="Arial"/>
              </a:rPr>
              <a:t> </a:t>
            </a:r>
            <a:r>
              <a:rPr lang="nb-NO" sz="1200" b="1" dirty="0" err="1">
                <a:cs typeface="Arial"/>
              </a:rPr>
              <a:t>participants</a:t>
            </a:r>
            <a:r>
              <a:rPr lang="nb-NO" sz="1200" b="1" dirty="0">
                <a:cs typeface="Arial"/>
              </a:rPr>
              <a:t>:</a:t>
            </a:r>
            <a:r>
              <a:rPr lang="nb-NO" sz="1200" dirty="0">
                <a:cs typeface="Arial"/>
              </a:rPr>
              <a:t> </a:t>
            </a:r>
            <a:r>
              <a:rPr lang="nb-NO" sz="1200" dirty="0" err="1">
                <a:cs typeface="Arial"/>
              </a:rPr>
              <a:t>submit</a:t>
            </a:r>
            <a:r>
              <a:rPr lang="nb-NO" sz="1200" dirty="0">
                <a:cs typeface="Arial"/>
              </a:rPr>
              <a:t> </a:t>
            </a:r>
            <a:r>
              <a:rPr lang="nb-NO" sz="1200" dirty="0" err="1">
                <a:cs typeface="Arial"/>
              </a:rPr>
              <a:t>the</a:t>
            </a:r>
            <a:r>
              <a:rPr lang="nb-NO" sz="1200" dirty="0">
                <a:cs typeface="Arial"/>
              </a:rPr>
              <a:t> </a:t>
            </a:r>
            <a:r>
              <a:rPr lang="nb-NO" sz="1200" dirty="0" err="1">
                <a:cs typeface="Arial"/>
              </a:rPr>
              <a:t>payment</a:t>
            </a:r>
            <a:r>
              <a:rPr lang="nb-NO" sz="1200" dirty="0">
                <a:cs typeface="Arial"/>
              </a:rPr>
              <a:t> </a:t>
            </a:r>
            <a:r>
              <a:rPr lang="nb-NO" sz="1200" dirty="0" err="1">
                <a:cs typeface="Arial"/>
              </a:rPr>
              <a:t>abroad</a:t>
            </a:r>
            <a:r>
              <a:rPr lang="nb-NO" sz="1200" dirty="0">
                <a:cs typeface="Arial"/>
              </a:rPr>
              <a:t> form (</a:t>
            </a:r>
            <a:r>
              <a:rPr lang="nb-NO" sz="1200" dirty="0" err="1">
                <a:cs typeface="Arial"/>
              </a:rPr>
              <a:t>attached</a:t>
            </a:r>
            <a:r>
              <a:rPr lang="nb-NO" sz="1200" dirty="0">
                <a:cs typeface="Arial"/>
              </a:rPr>
              <a:t>) and </a:t>
            </a:r>
            <a:r>
              <a:rPr lang="nb-NO" sz="1200" dirty="0" err="1">
                <a:cs typeface="Arial"/>
              </a:rPr>
              <a:t>your</a:t>
            </a:r>
            <a:r>
              <a:rPr lang="nb-NO" sz="1200" dirty="0">
                <a:cs typeface="Arial"/>
              </a:rPr>
              <a:t> </a:t>
            </a:r>
            <a:r>
              <a:rPr lang="nb-NO" sz="1200" dirty="0" err="1">
                <a:cs typeface="Arial"/>
              </a:rPr>
              <a:t>phone</a:t>
            </a:r>
            <a:r>
              <a:rPr lang="nb-NO" sz="1200" dirty="0">
                <a:cs typeface="Arial"/>
              </a:rPr>
              <a:t> </a:t>
            </a:r>
            <a:r>
              <a:rPr lang="nb-NO" sz="1200" dirty="0" err="1">
                <a:cs typeface="Arial"/>
              </a:rPr>
              <a:t>number</a:t>
            </a:r>
            <a:r>
              <a:rPr lang="nb-NO" sz="1200" dirty="0">
                <a:cs typeface="Arial"/>
              </a:rPr>
              <a:t> </a:t>
            </a:r>
            <a:r>
              <a:rPr lang="nb-NO" sz="1200" dirty="0" err="1">
                <a:cs typeface="Arial"/>
              </a:rPr>
              <a:t>with</a:t>
            </a:r>
            <a:r>
              <a:rPr lang="nb-NO" sz="1200" dirty="0">
                <a:cs typeface="Arial"/>
              </a:rPr>
              <a:t> country </a:t>
            </a:r>
            <a:r>
              <a:rPr lang="nb-NO" sz="1200" dirty="0" err="1">
                <a:cs typeface="Arial"/>
              </a:rPr>
              <a:t>code</a:t>
            </a:r>
            <a:r>
              <a:rPr lang="nb-NO" sz="1200" dirty="0">
                <a:cs typeface="Arial"/>
              </a:rPr>
              <a:t> to (ditt navn) </a:t>
            </a:r>
            <a:r>
              <a:rPr lang="nb-NO" sz="1200" dirty="0" err="1">
                <a:cs typeface="Arial"/>
              </a:rPr>
              <a:t>within</a:t>
            </a:r>
            <a:r>
              <a:rPr lang="nb-NO" sz="1200" dirty="0">
                <a:cs typeface="Arial"/>
              </a:rPr>
              <a:t> 1 </a:t>
            </a:r>
            <a:r>
              <a:rPr lang="nb-NO" sz="1200" dirty="0" err="1">
                <a:cs typeface="Arial"/>
              </a:rPr>
              <a:t>month</a:t>
            </a:r>
            <a:r>
              <a:rPr lang="nb-NO" sz="1200" dirty="0">
                <a:cs typeface="Arial"/>
              </a:rPr>
              <a:t> </a:t>
            </a:r>
            <a:r>
              <a:rPr lang="nb-NO" sz="1200" dirty="0" err="1">
                <a:cs typeface="Arial"/>
              </a:rPr>
              <a:t>of</a:t>
            </a:r>
            <a:r>
              <a:rPr lang="nb-NO" sz="1200" dirty="0">
                <a:cs typeface="Arial"/>
              </a:rPr>
              <a:t> travel end. </a:t>
            </a:r>
            <a:r>
              <a:rPr lang="nb-NO" sz="1200" dirty="0" err="1">
                <a:cs typeface="Arial"/>
              </a:rPr>
              <a:t>We</a:t>
            </a:r>
            <a:r>
              <a:rPr lang="nb-NO" sz="1200" dirty="0">
                <a:cs typeface="Arial"/>
              </a:rPr>
              <a:t> </a:t>
            </a:r>
            <a:r>
              <a:rPr lang="nb-NO" sz="1200" dirty="0" err="1">
                <a:cs typeface="Arial"/>
              </a:rPr>
              <a:t>will</a:t>
            </a:r>
            <a:r>
              <a:rPr lang="nb-NO" sz="1200" dirty="0">
                <a:cs typeface="Arial"/>
              </a:rPr>
              <a:t> register </a:t>
            </a:r>
            <a:r>
              <a:rPr lang="nb-NO" sz="1200" dirty="0" err="1">
                <a:cs typeface="Arial"/>
              </a:rPr>
              <a:t>you</a:t>
            </a:r>
            <a:r>
              <a:rPr lang="nb-NO" sz="1200" dirty="0">
                <a:cs typeface="Arial"/>
              </a:rPr>
              <a:t> </a:t>
            </a:r>
            <a:r>
              <a:rPr lang="nb-NO" sz="1200" dirty="0" err="1">
                <a:cs typeface="Arial"/>
              </a:rPr>
              <a:t>with</a:t>
            </a:r>
            <a:r>
              <a:rPr lang="nb-NO" sz="1200" dirty="0">
                <a:cs typeface="Arial"/>
              </a:rPr>
              <a:t> an </a:t>
            </a:r>
            <a:r>
              <a:rPr lang="nb-NO" sz="1200" dirty="0" err="1">
                <a:cs typeface="Arial"/>
              </a:rPr>
              <a:t>account</a:t>
            </a:r>
            <a:r>
              <a:rPr lang="nb-NO" sz="1200" dirty="0">
                <a:cs typeface="Arial"/>
              </a:rPr>
              <a:t> in </a:t>
            </a:r>
            <a:r>
              <a:rPr lang="nb-NO" sz="1200" dirty="0" err="1">
                <a:cs typeface="Arial"/>
              </a:rPr>
              <a:t>our</a:t>
            </a:r>
            <a:r>
              <a:rPr lang="nb-NO" sz="1200" dirty="0">
                <a:cs typeface="Arial"/>
              </a:rPr>
              <a:t> digital </a:t>
            </a:r>
            <a:r>
              <a:rPr lang="nb-NO" sz="1200" dirty="0" err="1">
                <a:cs typeface="Arial"/>
              </a:rPr>
              <a:t>accountancy</a:t>
            </a:r>
            <a:r>
              <a:rPr lang="nb-NO" sz="1200" dirty="0">
                <a:cs typeface="Arial"/>
              </a:rPr>
              <a:t> system to be </a:t>
            </a:r>
            <a:r>
              <a:rPr lang="nb-NO" sz="1200" dirty="0" err="1">
                <a:cs typeface="Arial"/>
              </a:rPr>
              <a:t>able</a:t>
            </a:r>
            <a:r>
              <a:rPr lang="nb-NO" sz="1200" dirty="0">
                <a:cs typeface="Arial"/>
              </a:rPr>
              <a:t> to make a reimbursement. </a:t>
            </a:r>
            <a:r>
              <a:rPr lang="nb-NO" sz="1200" dirty="0" err="1">
                <a:cs typeface="Arial"/>
              </a:rPr>
              <a:t>Please</a:t>
            </a:r>
            <a:r>
              <a:rPr lang="nb-NO" sz="1200" dirty="0">
                <a:cs typeface="Arial"/>
              </a:rPr>
              <a:t> </a:t>
            </a:r>
            <a:r>
              <a:rPr lang="nb-NO" sz="1200" dirty="0" err="1">
                <a:cs typeface="Arial"/>
              </a:rPr>
              <a:t>submit</a:t>
            </a:r>
            <a:r>
              <a:rPr lang="nb-NO" sz="1200" dirty="0">
                <a:cs typeface="Arial"/>
              </a:rPr>
              <a:t> by 1 </a:t>
            </a:r>
            <a:r>
              <a:rPr lang="nb-NO" sz="1200" dirty="0" err="1">
                <a:cs typeface="Arial"/>
              </a:rPr>
              <a:t>month</a:t>
            </a:r>
            <a:r>
              <a:rPr lang="nb-NO" sz="1200" dirty="0">
                <a:cs typeface="Arial"/>
              </a:rPr>
              <a:t> </a:t>
            </a:r>
            <a:r>
              <a:rPr lang="nb-NO" sz="1200" dirty="0" err="1">
                <a:cs typeface="Arial"/>
              </a:rPr>
              <a:t>of</a:t>
            </a:r>
            <a:r>
              <a:rPr lang="nb-NO" sz="1200" dirty="0">
                <a:cs typeface="Arial"/>
              </a:rPr>
              <a:t> travel end :</a:t>
            </a:r>
            <a:br>
              <a:rPr lang="nb-NO" sz="1200" dirty="0">
                <a:cs typeface="Arial"/>
              </a:rPr>
            </a:br>
            <a:r>
              <a:rPr lang="nb-NO" sz="1200" dirty="0">
                <a:cs typeface="Arial"/>
              </a:rPr>
              <a:t> 1) </a:t>
            </a:r>
            <a:r>
              <a:rPr lang="nb-NO" sz="1200" dirty="0" err="1">
                <a:cs typeface="Arial"/>
              </a:rPr>
              <a:t>Entire</a:t>
            </a:r>
            <a:r>
              <a:rPr lang="nb-NO" sz="1200" dirty="0">
                <a:cs typeface="Arial"/>
              </a:rPr>
              <a:t> </a:t>
            </a:r>
            <a:r>
              <a:rPr lang="nb-NO" sz="1200" dirty="0" err="1">
                <a:cs typeface="Arial"/>
              </a:rPr>
              <a:t>airline</a:t>
            </a:r>
            <a:r>
              <a:rPr lang="nb-NO" sz="1200" dirty="0">
                <a:cs typeface="Arial"/>
              </a:rPr>
              <a:t> </a:t>
            </a:r>
            <a:r>
              <a:rPr lang="nb-NO" sz="1200" dirty="0" err="1">
                <a:cs typeface="Arial"/>
              </a:rPr>
              <a:t>itinerary</a:t>
            </a:r>
            <a:r>
              <a:rPr lang="nb-NO" sz="1200" dirty="0">
                <a:cs typeface="Arial"/>
              </a:rPr>
              <a:t> </a:t>
            </a:r>
            <a:r>
              <a:rPr lang="nb-NO" sz="1200" dirty="0" err="1">
                <a:cs typeface="Arial"/>
              </a:rPr>
              <a:t>showing</a:t>
            </a:r>
            <a:r>
              <a:rPr lang="nb-NO" sz="1200" dirty="0">
                <a:cs typeface="Arial"/>
              </a:rPr>
              <a:t> </a:t>
            </a:r>
            <a:r>
              <a:rPr lang="nb-NO" sz="1200" dirty="0" err="1">
                <a:cs typeface="Arial"/>
              </a:rPr>
              <a:t>names</a:t>
            </a:r>
            <a:r>
              <a:rPr lang="nb-NO" sz="1200" dirty="0">
                <a:cs typeface="Arial"/>
              </a:rPr>
              <a:t>, fare </a:t>
            </a:r>
            <a:r>
              <a:rPr lang="nb-NO" sz="1200" dirty="0" err="1">
                <a:cs typeface="Arial"/>
              </a:rPr>
              <a:t>class</a:t>
            </a:r>
            <a:r>
              <a:rPr lang="nb-NO" sz="1200" dirty="0">
                <a:cs typeface="Arial"/>
              </a:rPr>
              <a:t>, </a:t>
            </a:r>
            <a:r>
              <a:rPr lang="nb-NO" sz="1200" dirty="0" err="1">
                <a:cs typeface="Arial"/>
              </a:rPr>
              <a:t>dates</a:t>
            </a:r>
            <a:r>
              <a:rPr lang="nb-NO" sz="1200" dirty="0">
                <a:cs typeface="Arial"/>
              </a:rPr>
              <a:t> </a:t>
            </a:r>
            <a:r>
              <a:rPr lang="nb-NO" sz="1200" dirty="0" err="1">
                <a:cs typeface="Arial"/>
              </a:rPr>
              <a:t>of</a:t>
            </a:r>
            <a:r>
              <a:rPr lang="nb-NO" sz="1200" dirty="0">
                <a:cs typeface="Arial"/>
              </a:rPr>
              <a:t> travel, and </a:t>
            </a:r>
            <a:r>
              <a:rPr lang="nb-NO" sz="1200" dirty="0" err="1">
                <a:cs typeface="Arial"/>
              </a:rPr>
              <a:t>the</a:t>
            </a:r>
            <a:r>
              <a:rPr lang="nb-NO" sz="1200" dirty="0">
                <a:cs typeface="Arial"/>
              </a:rPr>
              <a:t> </a:t>
            </a:r>
            <a:r>
              <a:rPr lang="nb-NO" sz="1200" dirty="0" err="1">
                <a:cs typeface="Arial"/>
              </a:rPr>
              <a:t>amount</a:t>
            </a:r>
            <a:r>
              <a:rPr lang="nb-NO" sz="1200" dirty="0">
                <a:cs typeface="Arial"/>
              </a:rPr>
              <a:t> </a:t>
            </a:r>
            <a:r>
              <a:rPr lang="nb-NO" sz="1200" dirty="0" err="1">
                <a:cs typeface="Arial"/>
              </a:rPr>
              <a:t>paid</a:t>
            </a:r>
            <a:r>
              <a:rPr lang="nb-NO" sz="1200" dirty="0">
                <a:cs typeface="Arial"/>
              </a:rPr>
              <a:t> and a </a:t>
            </a:r>
            <a:r>
              <a:rPr lang="nb-NO" sz="1200" dirty="0" err="1">
                <a:cs typeface="Arial"/>
              </a:rPr>
              <a:t>copy</a:t>
            </a:r>
            <a:r>
              <a:rPr lang="nb-NO" sz="1200" dirty="0">
                <a:cs typeface="Arial"/>
              </a:rPr>
              <a:t> </a:t>
            </a:r>
            <a:r>
              <a:rPr lang="nb-NO" sz="1200" dirty="0" err="1">
                <a:cs typeface="Arial"/>
              </a:rPr>
              <a:t>of</a:t>
            </a:r>
            <a:r>
              <a:rPr lang="nb-NO" sz="1200" dirty="0">
                <a:cs typeface="Arial"/>
              </a:rPr>
              <a:t> </a:t>
            </a:r>
            <a:r>
              <a:rPr lang="nb-NO" sz="1200" dirty="0" err="1">
                <a:cs typeface="Arial"/>
              </a:rPr>
              <a:t>boarding</a:t>
            </a:r>
            <a:r>
              <a:rPr lang="nb-NO" sz="1200" dirty="0">
                <a:cs typeface="Arial"/>
              </a:rPr>
              <a:t> pass, </a:t>
            </a:r>
          </a:p>
          <a:p>
            <a:pPr marL="0" indent="0">
              <a:spcBef>
                <a:spcPts val="0"/>
              </a:spcBef>
            </a:pPr>
            <a:r>
              <a:rPr lang="nb-NO" sz="1200" dirty="0">
                <a:cs typeface="Arial"/>
              </a:rPr>
              <a:t>2) </a:t>
            </a:r>
            <a:r>
              <a:rPr lang="nb-NO" sz="1200" dirty="0" err="1">
                <a:cs typeface="Arial"/>
              </a:rPr>
              <a:t>Itemized</a:t>
            </a:r>
            <a:r>
              <a:rPr lang="nb-NO" sz="1200" dirty="0">
                <a:cs typeface="Arial"/>
              </a:rPr>
              <a:t> </a:t>
            </a:r>
            <a:r>
              <a:rPr lang="nb-NO" sz="1200" dirty="0" err="1">
                <a:cs typeface="Arial"/>
              </a:rPr>
              <a:t>receipt</a:t>
            </a:r>
            <a:r>
              <a:rPr lang="nb-NO" sz="1200" dirty="0">
                <a:cs typeface="Arial"/>
              </a:rPr>
              <a:t> from </a:t>
            </a:r>
            <a:r>
              <a:rPr lang="nb-NO" sz="1200" dirty="0" err="1">
                <a:cs typeface="Arial"/>
              </a:rPr>
              <a:t>the</a:t>
            </a:r>
            <a:r>
              <a:rPr lang="nb-NO" sz="1200" dirty="0">
                <a:cs typeface="Arial"/>
              </a:rPr>
              <a:t> </a:t>
            </a:r>
            <a:r>
              <a:rPr lang="nb-NO" sz="1200" dirty="0" err="1">
                <a:cs typeface="Arial"/>
              </a:rPr>
              <a:t>hotel</a:t>
            </a:r>
            <a:r>
              <a:rPr lang="nb-NO" sz="1200" dirty="0">
                <a:cs typeface="Arial"/>
              </a:rPr>
              <a:t>, </a:t>
            </a:r>
          </a:p>
          <a:p>
            <a:pPr marL="0" indent="0">
              <a:spcBef>
                <a:spcPts val="0"/>
              </a:spcBef>
            </a:pPr>
            <a:r>
              <a:rPr lang="nb-NO" sz="1200" dirty="0">
                <a:cs typeface="Arial"/>
              </a:rPr>
              <a:t>3) The </a:t>
            </a:r>
            <a:r>
              <a:rPr lang="nb-NO" sz="1200" dirty="0" err="1">
                <a:cs typeface="Arial"/>
              </a:rPr>
              <a:t>programme</a:t>
            </a:r>
            <a:r>
              <a:rPr lang="nb-NO" sz="1200" dirty="0">
                <a:cs typeface="Arial"/>
              </a:rPr>
              <a:t> </a:t>
            </a:r>
            <a:r>
              <a:rPr lang="nb-NO" sz="1200" dirty="0" err="1">
                <a:cs typeface="Arial"/>
              </a:rPr>
              <a:t>of</a:t>
            </a:r>
            <a:r>
              <a:rPr lang="nb-NO" sz="1200" dirty="0">
                <a:cs typeface="Arial"/>
              </a:rPr>
              <a:t> </a:t>
            </a:r>
            <a:r>
              <a:rPr lang="nb-NO" sz="1200" dirty="0" err="1">
                <a:cs typeface="Arial"/>
              </a:rPr>
              <a:t>the</a:t>
            </a:r>
            <a:r>
              <a:rPr lang="nb-NO" sz="1200" dirty="0">
                <a:cs typeface="Arial"/>
              </a:rPr>
              <a:t> </a:t>
            </a:r>
            <a:r>
              <a:rPr lang="nb-NO" sz="1200" dirty="0" err="1">
                <a:cs typeface="Arial"/>
              </a:rPr>
              <a:t>event</a:t>
            </a:r>
            <a:r>
              <a:rPr lang="nb-NO" sz="1200" dirty="0">
                <a:cs typeface="Arial"/>
              </a:rPr>
              <a:t>.</a:t>
            </a:r>
            <a:br>
              <a:rPr lang="nb-NO" sz="1200" dirty="0">
                <a:cs typeface="Arial"/>
              </a:rPr>
            </a:br>
            <a:r>
              <a:rPr lang="nb-NO" sz="1200" dirty="0">
                <a:cs typeface="Arial"/>
              </a:rPr>
              <a:t> </a:t>
            </a:r>
            <a:r>
              <a:rPr lang="nb-NO" sz="1200" dirty="0" err="1">
                <a:cs typeface="Arial"/>
              </a:rPr>
              <a:t>Indicate</a:t>
            </a:r>
            <a:r>
              <a:rPr lang="nb-NO" sz="1200" dirty="0">
                <a:cs typeface="Arial"/>
              </a:rPr>
              <a:t> </a:t>
            </a:r>
            <a:r>
              <a:rPr lang="nb-NO" sz="1200" dirty="0" err="1">
                <a:cs typeface="Arial"/>
              </a:rPr>
              <a:t>the</a:t>
            </a:r>
            <a:r>
              <a:rPr lang="nb-NO" sz="1200" dirty="0">
                <a:cs typeface="Arial"/>
              </a:rPr>
              <a:t> </a:t>
            </a:r>
            <a:r>
              <a:rPr lang="nb-NO" sz="1200" dirty="0" err="1">
                <a:cs typeface="Arial"/>
              </a:rPr>
              <a:t>following</a:t>
            </a:r>
            <a:r>
              <a:rPr lang="nb-NO" sz="1200" dirty="0">
                <a:cs typeface="Arial"/>
              </a:rPr>
              <a:t> in </a:t>
            </a:r>
            <a:r>
              <a:rPr lang="nb-NO" sz="1200" dirty="0" err="1">
                <a:cs typeface="Arial"/>
              </a:rPr>
              <a:t>the</a:t>
            </a:r>
            <a:r>
              <a:rPr lang="nb-NO" sz="1200" dirty="0">
                <a:cs typeface="Arial"/>
              </a:rPr>
              <a:t> </a:t>
            </a:r>
            <a:r>
              <a:rPr lang="nb-NO" sz="1200" dirty="0" err="1">
                <a:cs typeface="Arial"/>
              </a:rPr>
              <a:t>comment</a:t>
            </a:r>
            <a:r>
              <a:rPr lang="nb-NO" sz="1200" dirty="0">
                <a:cs typeface="Arial"/>
              </a:rPr>
              <a:t> </a:t>
            </a:r>
            <a:r>
              <a:rPr lang="nb-NO" sz="1200" dirty="0" err="1">
                <a:cs typeface="Arial"/>
              </a:rPr>
              <a:t>field</a:t>
            </a:r>
            <a:r>
              <a:rPr lang="nb-NO" sz="1200" dirty="0">
                <a:cs typeface="Arial"/>
              </a:rPr>
              <a:t>: stedkode: 14200000, delprosjekt: **********, ref. (ditt navn), IKOS.</a:t>
            </a:r>
            <a:br>
              <a:rPr lang="nb-NO" sz="1200" dirty="0">
                <a:cs typeface="Arial"/>
              </a:rPr>
            </a:br>
            <a:r>
              <a:rPr lang="nb-NO" sz="1200" dirty="0">
                <a:cs typeface="Arial"/>
              </a:rPr>
              <a:t> </a:t>
            </a:r>
            <a:br>
              <a:rPr lang="nb-NO" sz="1200" dirty="0">
                <a:cs typeface="Arial"/>
              </a:rPr>
            </a:br>
            <a:r>
              <a:rPr lang="nb-NO" sz="1200" b="1" dirty="0" err="1">
                <a:cs typeface="Arial"/>
              </a:rPr>
              <a:t>External</a:t>
            </a:r>
            <a:r>
              <a:rPr lang="nb-NO" sz="1200" b="1" dirty="0">
                <a:cs typeface="Arial"/>
              </a:rPr>
              <a:t> Norwegian </a:t>
            </a:r>
            <a:r>
              <a:rPr lang="nb-NO" sz="1200" b="1" dirty="0" err="1">
                <a:cs typeface="Arial"/>
              </a:rPr>
              <a:t>participants</a:t>
            </a:r>
            <a:r>
              <a:rPr lang="nb-NO" sz="1200" b="1" dirty="0">
                <a:cs typeface="Arial"/>
              </a:rPr>
              <a:t>:</a:t>
            </a:r>
            <a:r>
              <a:rPr lang="nb-NO" sz="1200" dirty="0">
                <a:cs typeface="Arial"/>
              </a:rPr>
              <a:t> send </a:t>
            </a:r>
            <a:r>
              <a:rPr lang="nb-NO" sz="1200" dirty="0" err="1">
                <a:cs typeface="Arial"/>
              </a:rPr>
              <a:t>your</a:t>
            </a:r>
            <a:r>
              <a:rPr lang="nb-NO" sz="1200" dirty="0">
                <a:cs typeface="Arial"/>
              </a:rPr>
              <a:t> </a:t>
            </a:r>
            <a:r>
              <a:rPr lang="nb-NO" sz="1200" dirty="0" err="1">
                <a:cs typeface="Arial"/>
              </a:rPr>
              <a:t>phone</a:t>
            </a:r>
            <a:r>
              <a:rPr lang="nb-NO" sz="1200" dirty="0">
                <a:cs typeface="Arial"/>
              </a:rPr>
              <a:t> </a:t>
            </a:r>
            <a:r>
              <a:rPr lang="nb-NO" sz="1200" dirty="0" err="1">
                <a:cs typeface="Arial"/>
              </a:rPr>
              <a:t>number</a:t>
            </a:r>
            <a:r>
              <a:rPr lang="nb-NO" sz="1200" dirty="0">
                <a:cs typeface="Arial"/>
              </a:rPr>
              <a:t> </a:t>
            </a:r>
            <a:r>
              <a:rPr lang="nb-NO" sz="1200" dirty="0" err="1">
                <a:cs typeface="Arial"/>
              </a:rPr>
              <a:t>with</a:t>
            </a:r>
            <a:r>
              <a:rPr lang="nb-NO" sz="1200" dirty="0">
                <a:cs typeface="Arial"/>
              </a:rPr>
              <a:t> country </a:t>
            </a:r>
            <a:r>
              <a:rPr lang="nb-NO" sz="1200" dirty="0" err="1">
                <a:cs typeface="Arial"/>
              </a:rPr>
              <a:t>code</a:t>
            </a:r>
            <a:r>
              <a:rPr lang="nb-NO" sz="1200" dirty="0">
                <a:cs typeface="Arial"/>
              </a:rPr>
              <a:t> to (ditt navn) and </a:t>
            </a:r>
            <a:r>
              <a:rPr lang="nb-NO" sz="1200" dirty="0" err="1">
                <a:cs typeface="Arial"/>
              </a:rPr>
              <a:t>complete</a:t>
            </a:r>
            <a:r>
              <a:rPr lang="nb-NO" sz="1200" dirty="0">
                <a:cs typeface="Arial"/>
              </a:rPr>
              <a:t> Online form </a:t>
            </a:r>
            <a:r>
              <a:rPr lang="nb-NO" sz="1200" dirty="0">
                <a:cs typeface="Arial"/>
                <a:hlinkClick r:id="rId4"/>
              </a:rPr>
              <a:t>Refusjon av utlegg på BetalMeg - løsning - Nettskjema</a:t>
            </a:r>
            <a:r>
              <a:rPr lang="nb-NO" sz="1200" dirty="0">
                <a:cs typeface="Arial"/>
              </a:rPr>
              <a:t> </a:t>
            </a:r>
            <a:r>
              <a:rPr lang="nb-NO" sz="1200" dirty="0" err="1">
                <a:cs typeface="Arial"/>
              </a:rPr>
              <a:t>within</a:t>
            </a:r>
            <a:r>
              <a:rPr lang="nb-NO" sz="1200" dirty="0">
                <a:cs typeface="Arial"/>
              </a:rPr>
              <a:t> 1 </a:t>
            </a:r>
            <a:r>
              <a:rPr lang="nb-NO" sz="1200" dirty="0" err="1">
                <a:cs typeface="Arial"/>
              </a:rPr>
              <a:t>month</a:t>
            </a:r>
            <a:r>
              <a:rPr lang="nb-NO" sz="1200" dirty="0">
                <a:cs typeface="Arial"/>
              </a:rPr>
              <a:t> </a:t>
            </a:r>
            <a:r>
              <a:rPr lang="nb-NO" sz="1200" dirty="0" err="1">
                <a:cs typeface="Arial"/>
              </a:rPr>
              <a:t>of</a:t>
            </a:r>
            <a:r>
              <a:rPr lang="nb-NO" sz="1200" dirty="0">
                <a:cs typeface="Arial"/>
              </a:rPr>
              <a:t> travel end. </a:t>
            </a:r>
            <a:r>
              <a:rPr lang="nb-NO" sz="1200" dirty="0" err="1">
                <a:cs typeface="Arial"/>
              </a:rPr>
              <a:t>Please</a:t>
            </a:r>
            <a:r>
              <a:rPr lang="nb-NO" sz="1200" dirty="0">
                <a:cs typeface="Arial"/>
              </a:rPr>
              <a:t> </a:t>
            </a:r>
            <a:r>
              <a:rPr lang="nb-NO" sz="1200" dirty="0" err="1">
                <a:cs typeface="Arial"/>
              </a:rPr>
              <a:t>submit</a:t>
            </a:r>
            <a:r>
              <a:rPr lang="nb-NO" sz="1200" dirty="0">
                <a:cs typeface="Arial"/>
              </a:rPr>
              <a:t> by 1 </a:t>
            </a:r>
            <a:r>
              <a:rPr lang="nb-NO" sz="1200" dirty="0" err="1">
                <a:cs typeface="Arial"/>
              </a:rPr>
              <a:t>month</a:t>
            </a:r>
            <a:r>
              <a:rPr lang="nb-NO" sz="1200" dirty="0">
                <a:cs typeface="Arial"/>
              </a:rPr>
              <a:t> </a:t>
            </a:r>
            <a:r>
              <a:rPr lang="nb-NO" sz="1200" dirty="0" err="1">
                <a:cs typeface="Arial"/>
              </a:rPr>
              <a:t>of</a:t>
            </a:r>
            <a:r>
              <a:rPr lang="nb-NO" sz="1200" dirty="0">
                <a:cs typeface="Arial"/>
              </a:rPr>
              <a:t> travel end :</a:t>
            </a:r>
            <a:br>
              <a:rPr lang="nb-NO" sz="1200" dirty="0">
                <a:cs typeface="Arial"/>
              </a:rPr>
            </a:br>
            <a:r>
              <a:rPr lang="nb-NO" sz="1200" dirty="0">
                <a:cs typeface="Arial"/>
              </a:rPr>
              <a:t> 1) </a:t>
            </a:r>
            <a:r>
              <a:rPr lang="nb-NO" sz="1200" dirty="0" err="1">
                <a:cs typeface="Arial"/>
              </a:rPr>
              <a:t>Entire</a:t>
            </a:r>
            <a:r>
              <a:rPr lang="nb-NO" sz="1200" dirty="0">
                <a:cs typeface="Arial"/>
              </a:rPr>
              <a:t> </a:t>
            </a:r>
            <a:r>
              <a:rPr lang="nb-NO" sz="1200" dirty="0" err="1">
                <a:cs typeface="Arial"/>
              </a:rPr>
              <a:t>airline</a:t>
            </a:r>
            <a:r>
              <a:rPr lang="nb-NO" sz="1200" dirty="0">
                <a:cs typeface="Arial"/>
              </a:rPr>
              <a:t> </a:t>
            </a:r>
            <a:r>
              <a:rPr lang="nb-NO" sz="1200" dirty="0" err="1">
                <a:cs typeface="Arial"/>
              </a:rPr>
              <a:t>itinerary</a:t>
            </a:r>
            <a:r>
              <a:rPr lang="nb-NO" sz="1200" dirty="0">
                <a:cs typeface="Arial"/>
              </a:rPr>
              <a:t> </a:t>
            </a:r>
            <a:r>
              <a:rPr lang="nb-NO" sz="1200" dirty="0" err="1">
                <a:cs typeface="Arial"/>
              </a:rPr>
              <a:t>showing</a:t>
            </a:r>
            <a:r>
              <a:rPr lang="nb-NO" sz="1200" dirty="0">
                <a:cs typeface="Arial"/>
              </a:rPr>
              <a:t> </a:t>
            </a:r>
            <a:r>
              <a:rPr lang="nb-NO" sz="1200" dirty="0" err="1">
                <a:cs typeface="Arial"/>
              </a:rPr>
              <a:t>names</a:t>
            </a:r>
            <a:r>
              <a:rPr lang="nb-NO" sz="1200" dirty="0">
                <a:cs typeface="Arial"/>
              </a:rPr>
              <a:t>, fare </a:t>
            </a:r>
            <a:r>
              <a:rPr lang="nb-NO" sz="1200" dirty="0" err="1">
                <a:cs typeface="Arial"/>
              </a:rPr>
              <a:t>class</a:t>
            </a:r>
            <a:r>
              <a:rPr lang="nb-NO" sz="1200" dirty="0">
                <a:cs typeface="Arial"/>
              </a:rPr>
              <a:t>, </a:t>
            </a:r>
            <a:r>
              <a:rPr lang="nb-NO" sz="1200" dirty="0" err="1">
                <a:cs typeface="Arial"/>
              </a:rPr>
              <a:t>dates</a:t>
            </a:r>
            <a:r>
              <a:rPr lang="nb-NO" sz="1200" dirty="0">
                <a:cs typeface="Arial"/>
              </a:rPr>
              <a:t> </a:t>
            </a:r>
            <a:r>
              <a:rPr lang="nb-NO" sz="1200" dirty="0" err="1">
                <a:cs typeface="Arial"/>
              </a:rPr>
              <a:t>of</a:t>
            </a:r>
            <a:r>
              <a:rPr lang="nb-NO" sz="1200" dirty="0">
                <a:cs typeface="Arial"/>
              </a:rPr>
              <a:t> travel, and </a:t>
            </a:r>
            <a:r>
              <a:rPr lang="nb-NO" sz="1200" dirty="0" err="1">
                <a:cs typeface="Arial"/>
              </a:rPr>
              <a:t>the</a:t>
            </a:r>
            <a:r>
              <a:rPr lang="nb-NO" sz="1200" dirty="0">
                <a:cs typeface="Arial"/>
              </a:rPr>
              <a:t> </a:t>
            </a:r>
            <a:r>
              <a:rPr lang="nb-NO" sz="1200" dirty="0" err="1">
                <a:cs typeface="Arial"/>
              </a:rPr>
              <a:t>amount</a:t>
            </a:r>
            <a:r>
              <a:rPr lang="nb-NO" sz="1200" dirty="0">
                <a:cs typeface="Arial"/>
              </a:rPr>
              <a:t> </a:t>
            </a:r>
            <a:r>
              <a:rPr lang="nb-NO" sz="1200" dirty="0" err="1">
                <a:cs typeface="Arial"/>
              </a:rPr>
              <a:t>paid</a:t>
            </a:r>
            <a:r>
              <a:rPr lang="nb-NO" sz="1200" dirty="0">
                <a:cs typeface="Arial"/>
              </a:rPr>
              <a:t> and a </a:t>
            </a:r>
            <a:r>
              <a:rPr lang="nb-NO" sz="1200" dirty="0" err="1">
                <a:cs typeface="Arial"/>
              </a:rPr>
              <a:t>copy</a:t>
            </a:r>
            <a:r>
              <a:rPr lang="nb-NO" sz="1200" dirty="0">
                <a:cs typeface="Arial"/>
              </a:rPr>
              <a:t> </a:t>
            </a:r>
            <a:r>
              <a:rPr lang="nb-NO" sz="1200" dirty="0" err="1">
                <a:cs typeface="Arial"/>
              </a:rPr>
              <a:t>of</a:t>
            </a:r>
            <a:r>
              <a:rPr lang="nb-NO" sz="1200" dirty="0">
                <a:cs typeface="Arial"/>
              </a:rPr>
              <a:t> </a:t>
            </a:r>
            <a:r>
              <a:rPr lang="nb-NO" sz="1200" dirty="0" err="1">
                <a:cs typeface="Arial"/>
              </a:rPr>
              <a:t>boarding</a:t>
            </a:r>
            <a:r>
              <a:rPr lang="nb-NO" sz="1200" dirty="0">
                <a:cs typeface="Arial"/>
              </a:rPr>
              <a:t> pass, </a:t>
            </a:r>
          </a:p>
          <a:p>
            <a:pPr marL="0" indent="0">
              <a:spcBef>
                <a:spcPts val="0"/>
              </a:spcBef>
            </a:pPr>
            <a:r>
              <a:rPr lang="nb-NO" sz="1200" dirty="0">
                <a:cs typeface="Arial"/>
              </a:rPr>
              <a:t>2) </a:t>
            </a:r>
            <a:r>
              <a:rPr lang="nb-NO" sz="1200" dirty="0" err="1">
                <a:cs typeface="Arial"/>
              </a:rPr>
              <a:t>Itemized</a:t>
            </a:r>
            <a:r>
              <a:rPr lang="nb-NO" sz="1200" dirty="0">
                <a:cs typeface="Arial"/>
              </a:rPr>
              <a:t> </a:t>
            </a:r>
            <a:r>
              <a:rPr lang="nb-NO" sz="1200" dirty="0" err="1">
                <a:cs typeface="Arial"/>
              </a:rPr>
              <a:t>receipt</a:t>
            </a:r>
            <a:r>
              <a:rPr lang="nb-NO" sz="1200" dirty="0">
                <a:cs typeface="Arial"/>
              </a:rPr>
              <a:t> from </a:t>
            </a:r>
            <a:r>
              <a:rPr lang="nb-NO" sz="1200" dirty="0" err="1">
                <a:cs typeface="Arial"/>
              </a:rPr>
              <a:t>the</a:t>
            </a:r>
            <a:r>
              <a:rPr lang="nb-NO" sz="1200" dirty="0">
                <a:cs typeface="Arial"/>
              </a:rPr>
              <a:t> </a:t>
            </a:r>
            <a:r>
              <a:rPr lang="nb-NO" sz="1200" dirty="0" err="1">
                <a:cs typeface="Arial"/>
              </a:rPr>
              <a:t>hotel</a:t>
            </a:r>
            <a:r>
              <a:rPr lang="nb-NO" sz="1200" dirty="0">
                <a:cs typeface="Arial"/>
              </a:rPr>
              <a:t>, </a:t>
            </a:r>
          </a:p>
          <a:p>
            <a:pPr marL="0" indent="0">
              <a:spcBef>
                <a:spcPts val="0"/>
              </a:spcBef>
            </a:pPr>
            <a:r>
              <a:rPr lang="nb-NO" sz="1200" dirty="0">
                <a:cs typeface="Arial"/>
              </a:rPr>
              <a:t>3) The </a:t>
            </a:r>
            <a:r>
              <a:rPr lang="nb-NO" sz="1200" dirty="0" err="1">
                <a:cs typeface="Arial"/>
              </a:rPr>
              <a:t>programme</a:t>
            </a:r>
            <a:r>
              <a:rPr lang="nb-NO" sz="1200" dirty="0">
                <a:cs typeface="Arial"/>
              </a:rPr>
              <a:t> </a:t>
            </a:r>
            <a:r>
              <a:rPr lang="nb-NO" sz="1200" dirty="0" err="1">
                <a:cs typeface="Arial"/>
              </a:rPr>
              <a:t>of</a:t>
            </a:r>
            <a:r>
              <a:rPr lang="nb-NO" sz="1200" dirty="0">
                <a:cs typeface="Arial"/>
              </a:rPr>
              <a:t> </a:t>
            </a:r>
            <a:r>
              <a:rPr lang="nb-NO" sz="1200" dirty="0" err="1">
                <a:cs typeface="Arial"/>
              </a:rPr>
              <a:t>the</a:t>
            </a:r>
            <a:r>
              <a:rPr lang="nb-NO" sz="1200" dirty="0">
                <a:cs typeface="Arial"/>
              </a:rPr>
              <a:t> </a:t>
            </a:r>
            <a:r>
              <a:rPr lang="nb-NO" sz="1200" dirty="0" err="1">
                <a:cs typeface="Arial"/>
              </a:rPr>
              <a:t>event</a:t>
            </a:r>
            <a:r>
              <a:rPr lang="nb-NO" sz="1200" dirty="0">
                <a:cs typeface="Arial"/>
              </a:rPr>
              <a:t>. </a:t>
            </a:r>
          </a:p>
          <a:p>
            <a:pPr marL="0" indent="0">
              <a:spcBef>
                <a:spcPts val="0"/>
              </a:spcBef>
            </a:pPr>
            <a:r>
              <a:rPr lang="nb-NO" sz="1200" dirty="0" err="1">
                <a:cs typeface="Arial"/>
              </a:rPr>
              <a:t>Indicate</a:t>
            </a:r>
            <a:r>
              <a:rPr lang="nb-NO" sz="1200" dirty="0">
                <a:cs typeface="Arial"/>
              </a:rPr>
              <a:t> </a:t>
            </a:r>
            <a:r>
              <a:rPr lang="nb-NO" sz="1200" dirty="0" err="1">
                <a:cs typeface="Arial"/>
              </a:rPr>
              <a:t>the</a:t>
            </a:r>
            <a:r>
              <a:rPr lang="nb-NO" sz="1200" dirty="0">
                <a:cs typeface="Arial"/>
              </a:rPr>
              <a:t> </a:t>
            </a:r>
            <a:r>
              <a:rPr lang="nb-NO" sz="1200" dirty="0" err="1">
                <a:cs typeface="Arial"/>
              </a:rPr>
              <a:t>following</a:t>
            </a:r>
            <a:r>
              <a:rPr lang="nb-NO" sz="1200" dirty="0">
                <a:cs typeface="Arial"/>
              </a:rPr>
              <a:t> in </a:t>
            </a:r>
            <a:r>
              <a:rPr lang="nb-NO" sz="1200" dirty="0" err="1">
                <a:cs typeface="Arial"/>
              </a:rPr>
              <a:t>the</a:t>
            </a:r>
            <a:r>
              <a:rPr lang="nb-NO" sz="1200" dirty="0">
                <a:cs typeface="Arial"/>
              </a:rPr>
              <a:t> </a:t>
            </a:r>
            <a:r>
              <a:rPr lang="nb-NO" sz="1200" dirty="0" err="1">
                <a:cs typeface="Arial"/>
              </a:rPr>
              <a:t>comment</a:t>
            </a:r>
            <a:r>
              <a:rPr lang="nb-NO" sz="1200" dirty="0">
                <a:cs typeface="Arial"/>
              </a:rPr>
              <a:t> </a:t>
            </a:r>
            <a:r>
              <a:rPr lang="nb-NO" sz="1200" dirty="0" err="1">
                <a:cs typeface="Arial"/>
              </a:rPr>
              <a:t>field</a:t>
            </a:r>
            <a:r>
              <a:rPr lang="nb-NO" sz="1200" dirty="0">
                <a:cs typeface="Arial"/>
              </a:rPr>
              <a:t>: stedkode: 14200000, delprosjekt: </a:t>
            </a:r>
            <a:r>
              <a:rPr lang="nb-NO" sz="1200" dirty="0">
                <a:ea typeface="+mn-lt"/>
                <a:cs typeface="+mn-lt"/>
              </a:rPr>
              <a:t>**********</a:t>
            </a:r>
            <a:r>
              <a:rPr lang="nb-NO" sz="1200" dirty="0">
                <a:cs typeface="Arial"/>
              </a:rPr>
              <a:t>, ref. (ditt navn), IKOS.</a:t>
            </a:r>
            <a:br>
              <a:rPr lang="nb-NO" sz="2000" dirty="0">
                <a:cs typeface="Arial"/>
              </a:rPr>
            </a:br>
            <a:r>
              <a:rPr lang="nb-NO" sz="2000" dirty="0">
                <a:cs typeface="Arial"/>
              </a:rPr>
              <a:t> </a:t>
            </a:r>
            <a:br>
              <a:rPr lang="nb-NO" sz="2000" dirty="0">
                <a:cs typeface="Arial"/>
              </a:rPr>
            </a:br>
            <a:endParaRPr lang="nb-NO" sz="2000" dirty="0"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2000" dirty="0"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2000" dirty="0"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3200" dirty="0"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1600" dirty="0"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1600" dirty="0"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dirty="0">
              <a:cs typeface="Arial"/>
            </a:endParaRPr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21CB7B53-5066-47A4-9BD7-CF31E093A09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B2896E5B-B300-41A8-A194-FE8BA7CA63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17</a:t>
            </a:fld>
            <a:endParaRPr lang="en-US"/>
          </a:p>
        </p:txBody>
      </p:sp>
      <p:sp>
        <p:nvSpPr>
          <p:cNvPr id="5" name="Tittel 4">
            <a:extLst>
              <a:ext uri="{FF2B5EF4-FFF2-40B4-BE49-F238E27FC236}">
                <a16:creationId xmlns:a16="http://schemas.microsoft.com/office/drawing/2014/main" id="{A819FD2A-908D-4209-A11A-2783E94F4C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z="3200"/>
              <a:t>4. Rutiner for refusjon og honorar</a:t>
            </a:r>
            <a:br>
              <a:rPr lang="nb-NO" sz="3200"/>
            </a:br>
            <a:endParaRPr lang="nb-NO" sz="3200"/>
          </a:p>
        </p:txBody>
      </p:sp>
    </p:spTree>
    <p:extLst>
      <p:ext uri="{BB962C8B-B14F-4D97-AF65-F5344CB8AC3E}">
        <p14:creationId xmlns:p14="http://schemas.microsoft.com/office/powerpoint/2010/main" val="15186965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innhold 1">
            <a:extLst>
              <a:ext uri="{FF2B5EF4-FFF2-40B4-BE49-F238E27FC236}">
                <a16:creationId xmlns:a16="http://schemas.microsoft.com/office/drawing/2014/main" id="{938ED88D-C62E-4DE5-84C6-AAAB8D133DF4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429846" y="1059459"/>
            <a:ext cx="7677045" cy="4734978"/>
          </a:xfrm>
        </p:spPr>
        <p:txBody>
          <a:bodyPr vert="horz" lIns="0" tIns="0" rIns="0" bIns="0" rtlCol="0" anchor="t">
            <a:noAutofit/>
          </a:bodyPr>
          <a:lstStyle/>
          <a:p>
            <a:pPr marL="125095" indent="-125095"/>
            <a:r>
              <a:rPr lang="nb-NO" sz="1400" dirty="0"/>
              <a:t>Dersom gjester eller andre vedkommende skal honoreres, må kontrakt opprettes på forhånd. Send følgende informasjon til forskningsadministrasjonen (</a:t>
            </a:r>
            <a:r>
              <a:rPr lang="nb-NO" sz="1400" dirty="0">
                <a:hlinkClick r:id="rId2"/>
              </a:rPr>
              <a:t>f-team@ikos.uio.no</a:t>
            </a:r>
            <a:r>
              <a:rPr lang="nb-NO" sz="1400" dirty="0"/>
              <a:t>).</a:t>
            </a:r>
            <a:r>
              <a:rPr lang="nb-NO" sz="1400" dirty="0">
                <a:ea typeface="+mn-lt"/>
                <a:cs typeface="+mn-lt"/>
              </a:rPr>
              <a:t> Merk at det kan være nødvendig å understreke at honorar utbetales ETTER endt oppdrag.</a:t>
            </a:r>
            <a:r>
              <a:rPr lang="nb-NO" sz="1400" dirty="0"/>
              <a:t> </a:t>
            </a:r>
            <a:endParaRPr lang="en-US" sz="1400" dirty="0"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dirty="0"/>
              <a:t>Navn</a:t>
            </a:r>
            <a:endParaRPr lang="nb-NO"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dirty="0"/>
              <a:t>Telefonnummer /m landskode</a:t>
            </a:r>
            <a:endParaRPr lang="nb-NO"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dirty="0"/>
              <a:t>Privat e-post</a:t>
            </a:r>
            <a:endParaRPr lang="nb-NO"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dirty="0"/>
              <a:t>Nasjonalitet</a:t>
            </a:r>
            <a:endParaRPr lang="nb-NO"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dirty="0"/>
              <a:t>Hvilket land arbeidet utføres i dersom det ikke er Norge.</a:t>
            </a:r>
            <a:endParaRPr lang="nb-NO">
              <a:cs typeface="Arial"/>
            </a:endParaRPr>
          </a:p>
          <a:p>
            <a:pPr marL="125095" indent="-125095"/>
            <a:r>
              <a:rPr lang="nb-NO" dirty="0"/>
              <a:t>Oppdragsbeløpet/antall timer fylles inn av administrasjonen.</a:t>
            </a:r>
            <a:endParaRPr lang="nb-NO">
              <a:cs typeface="Arial"/>
            </a:endParaRPr>
          </a:p>
          <a:p>
            <a:pPr marL="125095" indent="-125095"/>
            <a:r>
              <a:rPr lang="nb-NO" dirty="0"/>
              <a:t>Eksempler på situasjoner der det kan tenkes at man bestiller kontrakt:</a:t>
            </a:r>
            <a:endParaRPr lang="nb-NO"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dirty="0"/>
              <a:t>Gjesteforskere som kommer for å holde foredrag/</a:t>
            </a:r>
            <a:r>
              <a:rPr lang="nb-NO" dirty="0" err="1"/>
              <a:t>keynote</a:t>
            </a:r>
            <a:r>
              <a:rPr lang="nb-NO" dirty="0"/>
              <a:t>;</a:t>
            </a:r>
            <a:endParaRPr lang="nb-NO"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dirty="0"/>
              <a:t>Kunstnere som utarbeider en designprofil til et prosjekt;</a:t>
            </a:r>
            <a:endParaRPr lang="nb-NO"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dirty="0"/>
              <a:t>Tjenester som ikke omfatter bevertning eller UiOs egne.</a:t>
            </a:r>
            <a:endParaRPr lang="nb-NO">
              <a:cs typeface="Arial"/>
            </a:endParaRPr>
          </a:p>
          <a:p>
            <a:pPr marL="0" indent="0"/>
            <a:r>
              <a:rPr lang="nb-NO" b="1" dirty="0"/>
              <a:t>HUSK ALLTID Å SPØRRE PROSJEKTLEDER OM NOEN SKAL LØNNES FOR UTFØRT ARBEID! Kontrakter må opprettes </a:t>
            </a:r>
            <a:r>
              <a:rPr lang="nb-NO" b="1" u="sng" dirty="0"/>
              <a:t>FØR</a:t>
            </a:r>
            <a:r>
              <a:rPr lang="nb-NO" b="1" dirty="0"/>
              <a:t> arbeidet finner sted.</a:t>
            </a:r>
            <a:endParaRPr lang="nb-NO" b="1"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/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E4E7C5A8-4171-4D05-9A58-9221B568CA1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72755B63-FA37-43C3-8105-5F2634ABF0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18</a:t>
            </a:fld>
            <a:endParaRPr lang="en-US"/>
          </a:p>
        </p:txBody>
      </p:sp>
      <p:sp>
        <p:nvSpPr>
          <p:cNvPr id="5" name="Tittel 4">
            <a:extLst>
              <a:ext uri="{FF2B5EF4-FFF2-40B4-BE49-F238E27FC236}">
                <a16:creationId xmlns:a16="http://schemas.microsoft.com/office/drawing/2014/main" id="{7EC1096E-4E9D-44D8-8F36-9B82F330A9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z="3200"/>
              <a:t>5. Rutiner for bestilling av oppdragskontrakter</a:t>
            </a:r>
            <a:br>
              <a:rPr lang="nb-NO" sz="3200"/>
            </a:br>
            <a:endParaRPr lang="nb-NO" sz="3200"/>
          </a:p>
        </p:txBody>
      </p:sp>
      <p:graphicFrame>
        <p:nvGraphicFramePr>
          <p:cNvPr id="6" name="Objekt 5" descr="Informasjon for å opprette time-/oppdragskontrakt">
            <a:extLst>
              <a:ext uri="{FF2B5EF4-FFF2-40B4-BE49-F238E27FC236}">
                <a16:creationId xmlns:a16="http://schemas.microsoft.com/office/drawing/2014/main" id="{0F20354D-F7D2-4892-81C7-D1DB89FD89D2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672993078"/>
              </p:ext>
            </p:extLst>
          </p:nvPr>
        </p:nvGraphicFramePr>
        <p:xfrm>
          <a:off x="6966294" y="1885581"/>
          <a:ext cx="4865660" cy="288247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3" imgW="7782049" imgH="4609964" progId="Excel.Sheet.12">
                  <p:embed/>
                </p:oleObj>
              </mc:Choice>
              <mc:Fallback>
                <p:oleObj name="Worksheet" r:id="rId3" imgW="7782049" imgH="4609964" progId="Excel.Sheet.12">
                  <p:embed/>
                  <p:pic>
                    <p:nvPicPr>
                      <p:cNvPr id="6" name="Objekt 5" descr="Informasjon for å opprette time-/oppdragskontrakt">
                        <a:extLst>
                          <a:ext uri="{FF2B5EF4-FFF2-40B4-BE49-F238E27FC236}">
                            <a16:creationId xmlns:a16="http://schemas.microsoft.com/office/drawing/2014/main" id="{0F20354D-F7D2-4892-81C7-D1DB89FD89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6966294" y="1885581"/>
                        <a:ext cx="4865660" cy="288247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kstSylinder 6">
            <a:extLst>
              <a:ext uri="{FF2B5EF4-FFF2-40B4-BE49-F238E27FC236}">
                <a16:creationId xmlns:a16="http://schemas.microsoft.com/office/drawing/2014/main" id="{3CF78689-CC2B-4FB9-B205-58FF2B4B43AC}"/>
              </a:ext>
            </a:extLst>
          </p:cNvPr>
          <p:cNvSpPr txBox="1"/>
          <p:nvPr/>
        </p:nvSpPr>
        <p:spPr>
          <a:xfrm>
            <a:off x="7989122" y="1654749"/>
            <a:ext cx="2820003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/>
              <a:t>Infoskjema for oppretting av time-/oppdragskontrakt</a:t>
            </a:r>
          </a:p>
        </p:txBody>
      </p:sp>
    </p:spTree>
    <p:extLst>
      <p:ext uri="{BB962C8B-B14F-4D97-AF65-F5344CB8AC3E}">
        <p14:creationId xmlns:p14="http://schemas.microsoft.com/office/powerpoint/2010/main" val="373219134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innhold 1">
            <a:extLst>
              <a:ext uri="{FF2B5EF4-FFF2-40B4-BE49-F238E27FC236}">
                <a16:creationId xmlns:a16="http://schemas.microsoft.com/office/drawing/2014/main" id="{EA671F56-647A-48F8-BFB2-821D4E110E9E}"/>
              </a:ext>
            </a:extLst>
          </p:cNvPr>
          <p:cNvSpPr>
            <a:spLocks noGrp="1"/>
          </p:cNvSpPr>
          <p:nvPr>
            <p:ph sz="quarter" idx="28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/>
              <a:t>Dersom prosjektleder vil at du skal bestille plakater, gjøres dette i stor grad av vit.ass.-en på egenhånd. Merk at det også går helt fint å skrive ut plakater fra skriver dersom A4-format er tilstrekkelig. Hvis det etterspørres større plakater og bannere, følger du </a:t>
            </a:r>
            <a:r>
              <a:rPr lang="nb-NO">
                <a:hlinkClick r:id="rId2"/>
              </a:rPr>
              <a:t>følgende veiledning</a:t>
            </a:r>
            <a:r>
              <a:rPr lang="nb-NO"/>
              <a:t>:</a:t>
            </a:r>
          </a:p>
          <a:p>
            <a:pPr marL="846146" lvl="1" indent="-285750">
              <a:buFont typeface="Arial" panose="020B0604020202020204" pitchFamily="34" charset="0"/>
              <a:buChar char="•"/>
            </a:pPr>
            <a:r>
              <a:rPr lang="nb-NO" sz="1600"/>
              <a:t>Ha klar en PDF av det du skal skrive ut. Sørg for at denne er kvalitetssjekket før bestilling.</a:t>
            </a:r>
          </a:p>
          <a:p>
            <a:pPr marL="846146" lvl="1" indent="-285750">
              <a:buFont typeface="Arial" panose="020B0604020202020204" pitchFamily="34" charset="0"/>
              <a:buChar char="•"/>
            </a:pPr>
            <a:r>
              <a:rPr lang="nb-NO" sz="1600"/>
              <a:t>Gå inn på siden til </a:t>
            </a:r>
            <a:r>
              <a:rPr lang="nb-NO" sz="1600">
                <a:hlinkClick r:id="rId3"/>
              </a:rPr>
              <a:t>Grafisk senter </a:t>
            </a:r>
            <a:r>
              <a:rPr lang="nb-NO" sz="1600"/>
              <a:t>ved UiO. Velg UiO-bestilling.</a:t>
            </a:r>
          </a:p>
          <a:p>
            <a:pPr marL="846146" lvl="1" indent="-285750">
              <a:buFont typeface="Arial" panose="020B0604020202020204" pitchFamily="34" charset="0"/>
              <a:buChar char="•"/>
            </a:pPr>
            <a:r>
              <a:rPr lang="nb-NO" sz="1600"/>
              <a:t>Velg ønsket produkt og dimensjoner (A2, A1, A0, roll-up, banner osv.).</a:t>
            </a:r>
          </a:p>
          <a:p>
            <a:pPr marL="846146" lvl="1" indent="-285750">
              <a:buFont typeface="Arial" panose="020B0604020202020204" pitchFamily="34" charset="0"/>
              <a:buChar char="•"/>
            </a:pPr>
            <a:r>
              <a:rPr lang="nb-NO" sz="1600"/>
              <a:t>For å betale, må du fylle inn koststed og delprosjekt. </a:t>
            </a:r>
          </a:p>
          <a:p>
            <a:pPr marL="1303369" lvl="2" indent="-285750">
              <a:buFont typeface="Arial" panose="020B0604020202020204" pitchFamily="34" charset="0"/>
              <a:buChar char="•"/>
            </a:pPr>
            <a:r>
              <a:rPr lang="nb-NO" sz="1600"/>
              <a:t>Koststed er 14200000 Institutt for kulturstudier og orientalske språk.</a:t>
            </a:r>
          </a:p>
          <a:p>
            <a:pPr marL="1303369" lvl="2" indent="-285750">
              <a:buFont typeface="Arial" panose="020B0604020202020204" pitchFamily="34" charset="0"/>
              <a:buChar char="•"/>
            </a:pPr>
            <a:r>
              <a:rPr lang="nb-NO" sz="1600"/>
              <a:t>Delprosjekt er koden til prosjektet du tilhører. Denne får du enten av prosjektleder eller administrasjonen.</a:t>
            </a:r>
          </a:p>
          <a:p>
            <a:pPr marL="846146" lvl="1" indent="-285750">
              <a:buFont typeface="Arial" panose="020B0604020202020204" pitchFamily="34" charset="0"/>
              <a:buChar char="•"/>
            </a:pPr>
            <a:r>
              <a:rPr lang="nb-NO" sz="1600"/>
              <a:t>Ferdige trykksaker kan enten leveres til en UiO-adresse eller hentes selv på trykkeriet under </a:t>
            </a:r>
            <a:r>
              <a:rPr lang="nb-NO" sz="1600" err="1"/>
              <a:t>SiO</a:t>
            </a:r>
            <a:r>
              <a:rPr lang="nb-NO" sz="1600"/>
              <a:t>-bygget. Leveranse inngår i prisen.</a:t>
            </a:r>
          </a:p>
          <a:p>
            <a:pPr marL="846146" lvl="1" indent="-285750">
              <a:buFont typeface="Arial" panose="020B0604020202020204" pitchFamily="34" charset="0"/>
              <a:buChar char="•"/>
            </a:pPr>
            <a:r>
              <a:rPr lang="nb-NO" sz="1600" b="1"/>
              <a:t>NB! Sjekk, </a:t>
            </a:r>
            <a:r>
              <a:rPr lang="nb-NO" sz="1600" b="1" err="1"/>
              <a:t>dobbelsjekk</a:t>
            </a:r>
            <a:r>
              <a:rPr lang="nb-NO" sz="1600" b="1"/>
              <a:t> og trippelsjekk at delprosjekt og leveringsadresse er riktig!</a:t>
            </a:r>
            <a:endParaRPr lang="nb-NO" b="1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/>
              <a:t>Husk å få bekreftet at prosjektet har midler til å dekke utgiftene; plakater blir fort dyr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/>
              <a:t>Tenk miljø! Bestill kun så mange dere trenger og lag heller færre plakater med mer innhold enn omvendt.</a:t>
            </a:r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D0572299-891D-4DC8-8C38-AF78E458839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4586B468-C233-4CC3-83E6-083DD8203F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19</a:t>
            </a:fld>
            <a:endParaRPr lang="en-US"/>
          </a:p>
        </p:txBody>
      </p:sp>
      <p:sp>
        <p:nvSpPr>
          <p:cNvPr id="5" name="Tittel 4">
            <a:extLst>
              <a:ext uri="{FF2B5EF4-FFF2-40B4-BE49-F238E27FC236}">
                <a16:creationId xmlns:a16="http://schemas.microsoft.com/office/drawing/2014/main" id="{434220C3-5C21-48A1-92F8-3B8DA4B18E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z="3200"/>
              <a:t>6. Rutiner for bestilling av plakater, bannere og rom </a:t>
            </a:r>
            <a:br>
              <a:rPr lang="nb-NO" sz="3200"/>
            </a:br>
            <a:endParaRPr lang="nb-NO" sz="3200"/>
          </a:p>
        </p:txBody>
      </p:sp>
    </p:spTree>
    <p:extLst>
      <p:ext uri="{BB962C8B-B14F-4D97-AF65-F5344CB8AC3E}">
        <p14:creationId xmlns:p14="http://schemas.microsoft.com/office/powerpoint/2010/main" val="53418810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C98572A5-46E2-4431-B21A-1DE33E38EB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Innhold	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61CF6F82-04E1-4B46-B708-BF70B5B05CC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736716" y="881598"/>
            <a:ext cx="2970013" cy="801407"/>
          </a:xfrm>
        </p:spPr>
        <p:txBody>
          <a:bodyPr/>
          <a:lstStyle/>
          <a:p>
            <a:r>
              <a:rPr lang="nb-NO" sz="2400"/>
              <a:t>1. Ny som vit.ass.? Dette må du vite…</a:t>
            </a:r>
          </a:p>
        </p:txBody>
      </p:sp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EA8EE129-EFF0-44E0-867E-445C843302E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737629" y="4572611"/>
            <a:ext cx="2970013" cy="959643"/>
          </a:xfrm>
        </p:spPr>
        <p:txBody>
          <a:bodyPr/>
          <a:lstStyle/>
          <a:p>
            <a:r>
              <a:rPr lang="nb-NO" sz="2400" dirty="0"/>
              <a:t>4. Rutiner for refusjon og honorar</a:t>
            </a:r>
          </a:p>
        </p:txBody>
      </p:sp>
      <p:sp>
        <p:nvSpPr>
          <p:cNvPr id="5" name="Plassholder for tekst 4">
            <a:extLst>
              <a:ext uri="{FF2B5EF4-FFF2-40B4-BE49-F238E27FC236}">
                <a16:creationId xmlns:a16="http://schemas.microsoft.com/office/drawing/2014/main" id="{418C4DE4-970F-406B-ADDB-811B357BFF0A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4736715" y="2015521"/>
            <a:ext cx="2970013" cy="1528506"/>
          </a:xfrm>
        </p:spPr>
        <p:txBody>
          <a:bodyPr/>
          <a:lstStyle/>
          <a:p>
            <a:r>
              <a:rPr lang="nb-NO" sz="2400"/>
              <a:t>2. Rutiner for bestilling av bevertning og restaurantbesøk</a:t>
            </a:r>
          </a:p>
        </p:txBody>
      </p:sp>
      <p:sp>
        <p:nvSpPr>
          <p:cNvPr id="6" name="Plassholder for tekst 5">
            <a:extLst>
              <a:ext uri="{FF2B5EF4-FFF2-40B4-BE49-F238E27FC236}">
                <a16:creationId xmlns:a16="http://schemas.microsoft.com/office/drawing/2014/main" id="{5AA5B20F-0C17-4F4C-A3D1-94544CBAC54A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375928" y="879717"/>
            <a:ext cx="3045844" cy="796854"/>
          </a:xfrm>
        </p:spPr>
        <p:txBody>
          <a:bodyPr/>
          <a:lstStyle/>
          <a:p>
            <a:r>
              <a:rPr lang="nb-NO" sz="2400" dirty="0"/>
              <a:t>5. Rutiner for bestilling av oppdragskontrakter</a:t>
            </a:r>
          </a:p>
        </p:txBody>
      </p:sp>
      <p:sp>
        <p:nvSpPr>
          <p:cNvPr id="7" name="Plassholder for tekst 6">
            <a:extLst>
              <a:ext uri="{FF2B5EF4-FFF2-40B4-BE49-F238E27FC236}">
                <a16:creationId xmlns:a16="http://schemas.microsoft.com/office/drawing/2014/main" id="{2BF2EA92-0F09-48F4-AC4B-A68B7237D7E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736714" y="3649690"/>
            <a:ext cx="2970013" cy="900293"/>
          </a:xfrm>
        </p:spPr>
        <p:txBody>
          <a:bodyPr/>
          <a:lstStyle/>
          <a:p>
            <a:r>
              <a:rPr lang="nb-NO" sz="2400"/>
              <a:t>3. Rutiner for bestilling av reiser</a:t>
            </a:r>
          </a:p>
        </p:txBody>
      </p:sp>
      <p:sp>
        <p:nvSpPr>
          <p:cNvPr id="8" name="Plassholder for tekst 7">
            <a:extLst>
              <a:ext uri="{FF2B5EF4-FFF2-40B4-BE49-F238E27FC236}">
                <a16:creationId xmlns:a16="http://schemas.microsoft.com/office/drawing/2014/main" id="{583C23D3-EDA1-47BA-B589-533A389CFF5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376141" y="2014842"/>
            <a:ext cx="2970013" cy="758724"/>
          </a:xfrm>
        </p:spPr>
        <p:txBody>
          <a:bodyPr/>
          <a:lstStyle/>
          <a:p>
            <a:r>
              <a:rPr lang="nb-NO" sz="2400" dirty="0"/>
              <a:t>6. Rutiner for bestilling av plakater </a:t>
            </a:r>
          </a:p>
        </p:txBody>
      </p:sp>
      <p:sp>
        <p:nvSpPr>
          <p:cNvPr id="9" name="Plassholder for lysbildenummer 8">
            <a:extLst>
              <a:ext uri="{FF2B5EF4-FFF2-40B4-BE49-F238E27FC236}">
                <a16:creationId xmlns:a16="http://schemas.microsoft.com/office/drawing/2014/main" id="{7540BCA1-3C8A-4AFD-91A0-58F07CFD5522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10" name="Plassholder for tekst 7">
            <a:extLst>
              <a:ext uri="{FF2B5EF4-FFF2-40B4-BE49-F238E27FC236}">
                <a16:creationId xmlns:a16="http://schemas.microsoft.com/office/drawing/2014/main" id="{A8F3766F-E293-4896-95E3-2706FA3519EF}"/>
              </a:ext>
            </a:extLst>
          </p:cNvPr>
          <p:cNvSpPr txBox="1">
            <a:spLocks/>
          </p:cNvSpPr>
          <p:nvPr/>
        </p:nvSpPr>
        <p:spPr>
          <a:xfrm>
            <a:off x="8370323" y="3164189"/>
            <a:ext cx="2970013" cy="8459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46" rtl="0" eaLnBrk="1" latinLnBrk="0" hangingPunct="1">
              <a:lnSpc>
                <a:spcPct val="100000"/>
              </a:lnSpc>
              <a:spcBef>
                <a:spcPts val="1150"/>
              </a:spcBef>
              <a:buFont typeface="Arial" panose="020B0604020202020204" pitchFamily="34" charset="0"/>
              <a:buChar char="​"/>
              <a:defRPr sz="30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6835" indent="-123850" algn="l" defTabSz="914446" rtl="0" eaLnBrk="1" latinLnBrk="0" hangingPunct="1">
              <a:lnSpc>
                <a:spcPct val="100000"/>
              </a:lnSpc>
              <a:spcBef>
                <a:spcPts val="1400"/>
              </a:spcBef>
              <a:buFont typeface="Wingdings" panose="05000000000000000000" pitchFamily="2" charset="2"/>
              <a:buChar char="§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57" indent="-228611" algn="l" defTabSz="914446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80" indent="-228611" algn="l" defTabSz="914446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503" indent="-228611" algn="l" defTabSz="914446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726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948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171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394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sz="2400" dirty="0"/>
              <a:t>7. Rutiner for kommunikasjon og nettsider</a:t>
            </a:r>
          </a:p>
        </p:txBody>
      </p:sp>
      <p:sp>
        <p:nvSpPr>
          <p:cNvPr id="12" name="Plassholder for tekst 7">
            <a:extLst>
              <a:ext uri="{FF2B5EF4-FFF2-40B4-BE49-F238E27FC236}">
                <a16:creationId xmlns:a16="http://schemas.microsoft.com/office/drawing/2014/main" id="{665D4BC9-8010-4D5C-C377-047565C691BC}"/>
              </a:ext>
            </a:extLst>
          </p:cNvPr>
          <p:cNvSpPr txBox="1">
            <a:spLocks/>
          </p:cNvSpPr>
          <p:nvPr/>
        </p:nvSpPr>
        <p:spPr>
          <a:xfrm>
            <a:off x="8370322" y="4571853"/>
            <a:ext cx="2970013" cy="84597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46" rtl="0" eaLnBrk="1" latinLnBrk="0" hangingPunct="1">
              <a:lnSpc>
                <a:spcPct val="100000"/>
              </a:lnSpc>
              <a:spcBef>
                <a:spcPts val="1150"/>
              </a:spcBef>
              <a:buFont typeface="Arial" panose="020B0604020202020204" pitchFamily="34" charset="0"/>
              <a:buChar char="​"/>
              <a:defRPr sz="30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6835" indent="-123850" algn="l" defTabSz="914446" rtl="0" eaLnBrk="1" latinLnBrk="0" hangingPunct="1">
              <a:lnSpc>
                <a:spcPct val="100000"/>
              </a:lnSpc>
              <a:spcBef>
                <a:spcPts val="1400"/>
              </a:spcBef>
              <a:buFont typeface="Wingdings" panose="05000000000000000000" pitchFamily="2" charset="2"/>
              <a:buChar char="§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57" indent="-228611" algn="l" defTabSz="914446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80" indent="-228611" algn="l" defTabSz="914446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503" indent="-228611" algn="l" defTabSz="914446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726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948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171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394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sz="2400" dirty="0"/>
              <a:t>8. Rutiner for GDPR og media</a:t>
            </a:r>
          </a:p>
        </p:txBody>
      </p:sp>
    </p:spTree>
    <p:extLst>
      <p:ext uri="{BB962C8B-B14F-4D97-AF65-F5344CB8AC3E}">
        <p14:creationId xmlns:p14="http://schemas.microsoft.com/office/powerpoint/2010/main" val="9932533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innhold 1">
            <a:extLst>
              <a:ext uri="{FF2B5EF4-FFF2-40B4-BE49-F238E27FC236}">
                <a16:creationId xmlns:a16="http://schemas.microsoft.com/office/drawing/2014/main" id="{F53C035A-CAFA-4B1D-B2F5-E1CEFCBE9CA5}"/>
              </a:ext>
            </a:extLst>
          </p:cNvPr>
          <p:cNvSpPr>
            <a:spLocks noGrp="1"/>
          </p:cNvSpPr>
          <p:nvPr>
            <p:ph sz="quarter" idx="28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/>
              <a:t>Ved bestilling av rom, kan det være gunstig å sette seg inn i </a:t>
            </a:r>
            <a:r>
              <a:rPr lang="nb-NO">
                <a:hlinkClick r:id="rId2"/>
              </a:rPr>
              <a:t>UiOs retningslinjer for bruk av rom og arealer</a:t>
            </a:r>
            <a:r>
              <a:rPr lang="nb-NO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/>
              <a:t>Rom bestilles på to vis: </a:t>
            </a:r>
          </a:p>
          <a:p>
            <a:pPr marL="846146" lvl="1" indent="-285750">
              <a:buFont typeface="Arial" panose="020B0604020202020204" pitchFamily="34" charset="0"/>
              <a:buChar char="•"/>
            </a:pPr>
            <a:r>
              <a:rPr lang="nb-NO" sz="1800"/>
              <a:t>Møterom kan reserveres gjennom Outlook på samme måte som man reserverer kollokvierom. Disse kan bestilles 270 dager frem i tid.</a:t>
            </a:r>
          </a:p>
          <a:p>
            <a:pPr marL="846146" lvl="1" indent="-285750">
              <a:buFont typeface="Arial" panose="020B0604020202020204" pitchFamily="34" charset="0"/>
              <a:buChar char="•"/>
            </a:pPr>
            <a:r>
              <a:rPr lang="nb-NO" sz="1800"/>
              <a:t>Auditorier og seminarrom kan bestilles gjennom </a:t>
            </a:r>
            <a:r>
              <a:rPr lang="en-US" sz="1800">
                <a:hlinkClick r:id="rId3"/>
              </a:rPr>
              <a:t>TP: Room booking (educloud.no)</a:t>
            </a:r>
            <a:r>
              <a:rPr lang="en-US" sz="1800"/>
              <a:t>.</a:t>
            </a:r>
            <a:endParaRPr lang="nb-NO" sz="180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/>
              <a:t>Benytt </a:t>
            </a:r>
            <a:r>
              <a:rPr lang="en-US">
                <a:hlinkClick r:id="rId4"/>
              </a:rPr>
              <a:t>TP: Schedule Room (</a:t>
            </a:r>
            <a:r>
              <a:rPr lang="en-US" err="1">
                <a:hlinkClick r:id="rId4"/>
              </a:rPr>
              <a:t>educloud</a:t>
            </a:r>
            <a:r>
              <a:rPr lang="en-US">
                <a:hlinkClick r:id="rId4"/>
              </a:rPr>
              <a:t>.</a:t>
            </a:r>
            <a:r>
              <a:rPr lang="nb-NO" err="1">
                <a:hlinkClick r:id="rId4"/>
              </a:rPr>
              <a:t>no</a:t>
            </a:r>
            <a:r>
              <a:rPr lang="nb-NO">
                <a:hlinkClick r:id="rId4"/>
              </a:rPr>
              <a:t>)</a:t>
            </a:r>
            <a:r>
              <a:rPr lang="nb-NO"/>
              <a:t> til å få oversikt over ledige rom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/>
              <a:t>Merk at det er unntak, ofte med egne regelverk for bruk av rom:</a:t>
            </a:r>
          </a:p>
          <a:p>
            <a:pPr marL="846146" lvl="1" indent="-285750">
              <a:buFont typeface="Arial" panose="020B0604020202020204" pitchFamily="34" charset="0"/>
              <a:buChar char="•"/>
            </a:pPr>
            <a:r>
              <a:rPr lang="nb-NO" sz="1400">
                <a:hlinkClick r:id="rId5"/>
              </a:rPr>
              <a:t>HF-12</a:t>
            </a:r>
            <a:r>
              <a:rPr lang="nb-NO" sz="1400"/>
              <a:t> (12. etasje i Niels), </a:t>
            </a:r>
            <a:r>
              <a:rPr lang="nb-NO" sz="1400">
                <a:hlinkClick r:id="rId6"/>
              </a:rPr>
              <a:t>Klubben og Stort møterom i GSH</a:t>
            </a:r>
            <a:r>
              <a:rPr lang="nb-NO" sz="1400"/>
              <a:t>, </a:t>
            </a:r>
            <a:r>
              <a:rPr lang="nb-NO" sz="1400">
                <a:hlinkClick r:id="rId7"/>
              </a:rPr>
              <a:t>Universitetsaulaen</a:t>
            </a:r>
            <a:r>
              <a:rPr lang="nb-NO" sz="1400"/>
              <a:t>, </a:t>
            </a:r>
            <a:r>
              <a:rPr lang="nb-NO" sz="1400">
                <a:hlinkClick r:id="rId8"/>
              </a:rPr>
              <a:t>Professorboligen</a:t>
            </a:r>
            <a:r>
              <a:rPr lang="nb-NO" sz="1400"/>
              <a:t>, </a:t>
            </a:r>
            <a:r>
              <a:rPr lang="nb-NO" sz="1400">
                <a:hlinkClick r:id="rId9"/>
              </a:rPr>
              <a:t>Tøyen hovedgård</a:t>
            </a:r>
            <a:r>
              <a:rPr lang="nb-NO" sz="1400"/>
              <a:t>, og </a:t>
            </a:r>
            <a:r>
              <a:rPr lang="nb-NO" sz="1400">
                <a:hlinkClick r:id="rId10"/>
              </a:rPr>
              <a:t>Gamle festsal</a:t>
            </a:r>
            <a:r>
              <a:rPr lang="nb-NO" sz="1400"/>
              <a:t> krever alle egen søknad. </a:t>
            </a:r>
          </a:p>
          <a:p>
            <a:pPr marL="846146" lvl="1" indent="-285750">
              <a:buFont typeface="Arial" panose="020B0604020202020204" pitchFamily="34" charset="0"/>
              <a:buChar char="•"/>
            </a:pPr>
            <a:r>
              <a:rPr lang="nb-NO" sz="1400"/>
              <a:t>På fredager kan auditorier og undervisningsrom på GSH reserveres til arrangementer hele dagen. Send forespørsel til </a:t>
            </a:r>
            <a:r>
              <a:rPr lang="nb-NO" sz="1400">
                <a:hlinkClick r:id="rId11"/>
              </a:rPr>
              <a:t>arrangementer@admin.uio.no</a:t>
            </a:r>
            <a:r>
              <a:rPr lang="nb-NO" sz="1400"/>
              <a:t> for å reservere rom.</a:t>
            </a:r>
          </a:p>
          <a:p>
            <a:pPr marL="846146" lvl="1" indent="-285750">
              <a:buFont typeface="Arial" panose="020B0604020202020204" pitchFamily="34" charset="0"/>
              <a:buChar char="•"/>
            </a:pPr>
            <a:r>
              <a:rPr lang="nb-NO" sz="1400"/>
              <a:t>Ta kontakt med </a:t>
            </a:r>
            <a:r>
              <a:rPr lang="nb-NO" sz="1400">
                <a:hlinkClick r:id="rId12"/>
              </a:rPr>
              <a:t>innkjop@ikos.uio.no</a:t>
            </a:r>
            <a:r>
              <a:rPr lang="nb-NO" sz="1400"/>
              <a:t> om du bes bestille konferansehotell. Dersom arrangementet foregår i Oslo er tommelfingerregelen at man ikke bestiller konferansehotell.</a:t>
            </a:r>
          </a:p>
          <a:p>
            <a:pPr marL="846146" lvl="1" indent="-285750">
              <a:buFont typeface="Arial" panose="020B0604020202020204" pitchFamily="34" charset="0"/>
              <a:buChar char="•"/>
            </a:pPr>
            <a:r>
              <a:rPr lang="nb-NO" sz="1400"/>
              <a:t>Ved bestilling av konferansehotell gjelder regelen at man benytter UiOs lokaler fremfor hotell. Ta kontakt med administrasjonen dersom dere planlegger et større arrangement (konferanser i flere dager osv.). Vi forholder oss </a:t>
            </a:r>
            <a:r>
              <a:rPr lang="nb-NO" sz="1400" b="1"/>
              <a:t>kun </a:t>
            </a:r>
            <a:r>
              <a:rPr lang="nb-NO" sz="1400"/>
              <a:t>til konferansehoteller vi har avtale med dersom det av én eller annen grunn må benyttes hotell.</a:t>
            </a:r>
          </a:p>
          <a:p>
            <a:pPr marL="846146" lvl="1" indent="-285750">
              <a:buFont typeface="Arial" panose="020B0604020202020204" pitchFamily="34" charset="0"/>
              <a:buChar char="•"/>
            </a:pPr>
            <a:endParaRPr lang="nb-NO" sz="1400"/>
          </a:p>
          <a:p>
            <a:pPr marL="846146" lvl="1" indent="-285750">
              <a:buFont typeface="Arial" panose="020B0604020202020204" pitchFamily="34" charset="0"/>
              <a:buChar char="•"/>
            </a:pPr>
            <a:endParaRPr lang="en-US" sz="140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/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01C986EC-8D6B-4175-85AC-510E2B19A28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D0169CE9-6CE8-48A0-A265-7570B71F42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20</a:t>
            </a:fld>
            <a:endParaRPr lang="en-US"/>
          </a:p>
        </p:txBody>
      </p:sp>
      <p:sp>
        <p:nvSpPr>
          <p:cNvPr id="5" name="Tittel 4">
            <a:extLst>
              <a:ext uri="{FF2B5EF4-FFF2-40B4-BE49-F238E27FC236}">
                <a16:creationId xmlns:a16="http://schemas.microsoft.com/office/drawing/2014/main" id="{7B76F4C6-C339-45B1-9D0D-7F5A97EE6C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z="3200"/>
              <a:t>6. Rutiner for bestilling av plakater, bannere og rom, fort.</a:t>
            </a:r>
          </a:p>
        </p:txBody>
      </p:sp>
    </p:spTree>
    <p:extLst>
      <p:ext uri="{BB962C8B-B14F-4D97-AF65-F5344CB8AC3E}">
        <p14:creationId xmlns:p14="http://schemas.microsoft.com/office/powerpoint/2010/main" val="345895458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innhold 1">
            <a:extLst>
              <a:ext uri="{FF2B5EF4-FFF2-40B4-BE49-F238E27FC236}">
                <a16:creationId xmlns:a16="http://schemas.microsoft.com/office/drawing/2014/main" id="{A053AC7A-F04D-4F2E-A5C5-C759E1E64AD8}"/>
              </a:ext>
            </a:extLst>
          </p:cNvPr>
          <p:cNvSpPr>
            <a:spLocks noGrp="1"/>
          </p:cNvSpPr>
          <p:nvPr>
            <p:ph sz="quarter" idx="28"/>
          </p:nvPr>
        </p:nvSpPr>
        <p:spPr/>
        <p:txBody>
          <a:bodyPr vert="horz" lIns="0" tIns="0" rIns="0" bIns="0" rtlCol="0" anchor="t"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b="1" dirty="0"/>
              <a:t>Man får ikke lov til å publisere eller redigere sider på nett uten tillatelse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dirty="0"/>
              <a:t>Alle som publiserer på nett må ha tatt følgende kurs:</a:t>
            </a:r>
          </a:p>
          <a:p>
            <a:pPr marL="845820" lvl="1" indent="-285750">
              <a:buFont typeface="Arial" panose="020B0604020202020204" pitchFamily="34" charset="0"/>
              <a:buChar char="•"/>
            </a:pPr>
            <a:r>
              <a:rPr lang="nb-NO" dirty="0">
                <a:hlinkClick r:id="rId2"/>
              </a:rPr>
              <a:t>Grunnkurs i Vortex</a:t>
            </a:r>
            <a:endParaRPr lang="nb-NO" dirty="0">
              <a:cs typeface="Arial"/>
            </a:endParaRPr>
          </a:p>
          <a:p>
            <a:pPr marL="845820" lvl="1" indent="-285750">
              <a:buFont typeface="Arial" panose="020B0604020202020204" pitchFamily="34" charset="0"/>
              <a:buChar char="•"/>
            </a:pPr>
            <a:r>
              <a:rPr lang="nb-NO" dirty="0">
                <a:hlinkClick r:id="rId3"/>
              </a:rPr>
              <a:t>Kurs i klarspråk</a:t>
            </a:r>
            <a:endParaRPr lang="nb-NO" dirty="0">
              <a:cs typeface="Arial"/>
            </a:endParaRPr>
          </a:p>
          <a:p>
            <a:pPr marL="845820" lvl="1" indent="-285750">
              <a:buFont typeface="Arial" panose="020B0604020202020204" pitchFamily="34" charset="0"/>
              <a:buChar char="•"/>
            </a:pPr>
            <a:r>
              <a:rPr lang="nb-NO" dirty="0">
                <a:hlinkClick r:id="rId4"/>
              </a:rPr>
              <a:t>Kurs i universell utforming (uu)</a:t>
            </a:r>
            <a:endParaRPr lang="nb-NO" dirty="0"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b="1" dirty="0"/>
              <a:t>Dersom man skal ha et nytt nettsted (for eksempel i forbindelse med nytt EU-prosjekt, samarbeidsprosjekt der UiO er likeverdig partner eller senter), </a:t>
            </a:r>
            <a:r>
              <a:rPr lang="nb-NO" b="1" dirty="0">
                <a:hlinkClick r:id="rId5"/>
              </a:rPr>
              <a:t>må dette bestilles på UiOs ansattsider</a:t>
            </a:r>
            <a:r>
              <a:rPr lang="nb-NO" b="1" dirty="0"/>
              <a:t>. </a:t>
            </a:r>
          </a:p>
          <a:p>
            <a:pPr marL="845820" lvl="1" indent="-285750">
              <a:buFont typeface="Arial" panose="020B0604020202020204" pitchFamily="34" charset="0"/>
              <a:buChar char="•"/>
            </a:pPr>
            <a:r>
              <a:rPr lang="nb-NO" sz="1500" dirty="0"/>
              <a:t>Prosjekter, forskergrupper, konferanser og andre tiltak med UiO som </a:t>
            </a:r>
            <a:r>
              <a:rPr lang="nb-NO" sz="1500" dirty="0" err="1"/>
              <a:t>hovedavsender</a:t>
            </a:r>
            <a:r>
              <a:rPr lang="nb-NO" sz="1500" dirty="0"/>
              <a:t> skal plasseres i eksisterende UiO-mappestruktur, med UiOs design – disse trenger ikke sende søknad, men kontakt </a:t>
            </a:r>
            <a:r>
              <a:rPr lang="nb-NO" sz="1500" dirty="0">
                <a:ea typeface="+mn-lt"/>
                <a:cs typeface="+mn-lt"/>
                <a:hlinkClick r:id="rId6"/>
              </a:rPr>
              <a:t>nettredaktor@hf.uio.no</a:t>
            </a:r>
            <a:r>
              <a:rPr lang="nb-NO" sz="1500" dirty="0">
                <a:ea typeface="+mn-lt"/>
                <a:cs typeface="+mn-lt"/>
              </a:rPr>
              <a:t> uansett for å sikre at det er greit å lage en slik side.</a:t>
            </a:r>
            <a:endParaRPr lang="nb-NO" sz="1500" dirty="0">
              <a:cs typeface="Arial"/>
            </a:endParaRPr>
          </a:p>
          <a:p>
            <a:pPr marL="845820" lvl="1" indent="-285750">
              <a:buFont typeface="Arial" panose="020B0604020202020204" pitchFamily="34" charset="0"/>
              <a:buChar char="•"/>
            </a:pPr>
            <a:r>
              <a:rPr lang="nb-NO" sz="1500" dirty="0">
                <a:cs typeface="Arial"/>
              </a:rPr>
              <a:t>Artikler og arrangementer trenger i de fleste tilfeller ikke å meldes inn.</a:t>
            </a:r>
            <a:endParaRPr lang="nb-NO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dirty="0"/>
              <a:t>Det er </a:t>
            </a:r>
            <a:r>
              <a:rPr lang="nb-NO" dirty="0">
                <a:hlinkClick r:id="rId7"/>
              </a:rPr>
              <a:t>egne føringer for bruk av bilder på UiOs nettsider</a:t>
            </a:r>
            <a:r>
              <a:rPr lang="nb-NO" dirty="0"/>
              <a:t>. Det kan være nyttig å sette seg inn i disse.</a:t>
            </a:r>
            <a:endParaRPr lang="nb-NO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b="1" dirty="0"/>
              <a:t>Dersom du er usikker på om nettsida innfrir kravene til </a:t>
            </a:r>
            <a:r>
              <a:rPr lang="nb-NO" b="1" dirty="0" err="1"/>
              <a:t>uu</a:t>
            </a:r>
            <a:r>
              <a:rPr lang="nb-NO" b="1" dirty="0"/>
              <a:t>, send gjerne utkast til Tarjei (</a:t>
            </a:r>
            <a:r>
              <a:rPr lang="nb-NO" b="1" dirty="0">
                <a:hlinkClick r:id="rId8"/>
              </a:rPr>
              <a:t>tarjeibr@ikos.uio.no</a:t>
            </a:r>
            <a:r>
              <a:rPr lang="nb-NO" b="1" dirty="0"/>
              <a:t>) før publisering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dirty="0">
                <a:cs typeface="Arial"/>
              </a:rPr>
              <a:t>Tilgang til </a:t>
            </a:r>
            <a:r>
              <a:rPr lang="nb-NO" dirty="0" err="1">
                <a:cs typeface="Arial"/>
              </a:rPr>
              <a:t>Vortex</a:t>
            </a:r>
            <a:r>
              <a:rPr lang="nb-NO" dirty="0">
                <a:cs typeface="Arial"/>
              </a:rPr>
              <a:t> gis kun på etterspørsel fra prosjektleder.</a:t>
            </a:r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5E7387E4-C379-40EE-91A2-523EE87FAF6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9FF3271B-1FF5-49C5-985B-BDB53844C2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21</a:t>
            </a:fld>
            <a:endParaRPr lang="en-US"/>
          </a:p>
        </p:txBody>
      </p:sp>
      <p:sp>
        <p:nvSpPr>
          <p:cNvPr id="5" name="Tittel 4">
            <a:extLst>
              <a:ext uri="{FF2B5EF4-FFF2-40B4-BE49-F238E27FC236}">
                <a16:creationId xmlns:a16="http://schemas.microsoft.com/office/drawing/2014/main" id="{CEB69117-6CEA-4BDE-AB14-3111AE5163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z="3200" dirty="0"/>
              <a:t>7. Rutiner for kommunikasjon og nettsider</a:t>
            </a:r>
          </a:p>
        </p:txBody>
      </p:sp>
    </p:spTree>
    <p:extLst>
      <p:ext uri="{BB962C8B-B14F-4D97-AF65-F5344CB8AC3E}">
        <p14:creationId xmlns:p14="http://schemas.microsoft.com/office/powerpoint/2010/main" val="94681638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FC22E965-8329-D394-9C7C-3B366AD536CB}"/>
              </a:ext>
            </a:extLst>
          </p:cNvPr>
          <p:cNvSpPr>
            <a:spLocks noGrp="1"/>
          </p:cNvSpPr>
          <p:nvPr>
            <p:ph sz="quarter" idx="28"/>
          </p:nvPr>
        </p:nvSpPr>
        <p:spPr/>
        <p:txBody>
          <a:bodyPr vert="horz" lIns="0" tIns="0" rIns="0" bIns="0" rtlCol="0" anchor="t">
            <a:noAutofit/>
          </a:bodyPr>
          <a:lstStyle/>
          <a:p>
            <a:pPr marL="285750" indent="-285750">
              <a:buFont typeface="Arial"/>
              <a:buChar char="•"/>
            </a:pPr>
            <a:r>
              <a:rPr lang="nb-NO" sz="2000" b="1" dirty="0">
                <a:cs typeface="Arial"/>
              </a:rPr>
              <a:t>All publisering av lyd og bilde krever og forutsetter at det innhentes samtykke fra samtlige deltakere.</a:t>
            </a:r>
          </a:p>
          <a:p>
            <a:pPr marL="846455" lvl="1" indent="-285750">
              <a:buFont typeface="Arial,Sans-Serif"/>
              <a:buChar char="•"/>
            </a:pPr>
            <a:r>
              <a:rPr lang="nb-NO" sz="1600" dirty="0">
                <a:ea typeface="+mn-lt"/>
                <a:cs typeface="+mn-lt"/>
              </a:rPr>
              <a:t>Samtykket skal være:</a:t>
            </a:r>
            <a:endParaRPr lang="en-US" sz="1600">
              <a:ea typeface="+mn-lt"/>
              <a:cs typeface="+mn-lt"/>
            </a:endParaRPr>
          </a:p>
          <a:p>
            <a:pPr marL="1303655" lvl="2" indent="-228600">
              <a:buFont typeface="Arial,Sans-Serif"/>
              <a:buChar char="•"/>
            </a:pPr>
            <a:r>
              <a:rPr lang="nb-NO" dirty="0">
                <a:ea typeface="+mn-lt"/>
                <a:cs typeface="+mn-lt"/>
              </a:rPr>
              <a:t>frivillig</a:t>
            </a:r>
          </a:p>
          <a:p>
            <a:pPr marL="1303655" lvl="2" indent="-228600">
              <a:buFont typeface="Arial,Sans-Serif"/>
              <a:buChar char="•"/>
            </a:pPr>
            <a:r>
              <a:rPr lang="nb-NO" dirty="0">
                <a:ea typeface="+mn-lt"/>
                <a:cs typeface="+mn-lt"/>
              </a:rPr>
              <a:t>tydelig</a:t>
            </a:r>
          </a:p>
          <a:p>
            <a:pPr marL="1303655" lvl="2" indent="-228600">
              <a:buFont typeface="Arial,Sans-Serif"/>
              <a:buChar char="•"/>
            </a:pPr>
            <a:r>
              <a:rPr lang="nb-NO" dirty="0">
                <a:ea typeface="+mn-lt"/>
                <a:cs typeface="+mn-lt"/>
              </a:rPr>
              <a:t>informert (det skal være tydelig forklart hva bildene/videoen/opptaket skal brukes til)</a:t>
            </a:r>
            <a:endParaRPr lang="en-US" dirty="0">
              <a:cs typeface="Arial"/>
            </a:endParaRPr>
          </a:p>
          <a:p>
            <a:pPr marL="846455" lvl="1" indent="-285750">
              <a:buFont typeface="Arial"/>
              <a:buChar char="•"/>
            </a:pPr>
            <a:r>
              <a:rPr lang="nb-NO" sz="1600" dirty="0">
                <a:cs typeface="Arial"/>
              </a:rPr>
              <a:t>Les mer om </a:t>
            </a:r>
            <a:r>
              <a:rPr lang="nb-NO" sz="1600" dirty="0">
                <a:cs typeface="Arial"/>
                <a:hlinkClick r:id="rId2"/>
              </a:rPr>
              <a:t>behandling av bilder</a:t>
            </a:r>
            <a:r>
              <a:rPr lang="nb-NO" sz="1600" dirty="0">
                <a:cs typeface="Arial"/>
              </a:rPr>
              <a:t>; om </a:t>
            </a:r>
            <a:r>
              <a:rPr lang="nb-NO" sz="1600" dirty="0">
                <a:cs typeface="Arial"/>
                <a:hlinkClick r:id="rId3"/>
              </a:rPr>
              <a:t>strømming og opptak</a:t>
            </a:r>
            <a:r>
              <a:rPr lang="nb-NO" sz="1600" dirty="0">
                <a:cs typeface="Arial"/>
              </a:rPr>
              <a:t>; om </a:t>
            </a:r>
            <a:r>
              <a:rPr lang="nb-NO" sz="1600" dirty="0">
                <a:cs typeface="Arial"/>
                <a:hlinkClick r:id="rId4"/>
              </a:rPr>
              <a:t>håndtering/sletting av persondata på uio.no</a:t>
            </a:r>
            <a:r>
              <a:rPr lang="nb-NO" sz="1600" dirty="0">
                <a:cs typeface="Arial"/>
              </a:rPr>
              <a:t>.</a:t>
            </a:r>
          </a:p>
          <a:p>
            <a:pPr marL="285750" indent="-285750">
              <a:buFont typeface="Arial"/>
              <a:buChar char="•"/>
            </a:pPr>
            <a:r>
              <a:rPr lang="nb-NO" sz="2000" b="1" dirty="0">
                <a:cs typeface="Arial"/>
              </a:rPr>
              <a:t>Alle interne deltakerlister må slettes når de har oppfylt sitt formål.</a:t>
            </a:r>
          </a:p>
          <a:p>
            <a:pPr marL="846455" lvl="1" indent="-285750">
              <a:buFont typeface="Arial"/>
              <a:buChar char="•"/>
            </a:pPr>
            <a:r>
              <a:rPr lang="nb-NO" sz="1600" dirty="0">
                <a:cs typeface="Arial"/>
              </a:rPr>
              <a:t>Man skal egentlig informere i påmeldingsskjema om når listene slettes (innen en uke etter arrangementet, for eks.)</a:t>
            </a:r>
          </a:p>
          <a:p>
            <a:pPr marL="846455" lvl="1" indent="-285750">
              <a:buFont typeface="Arial"/>
              <a:buChar char="•"/>
            </a:pPr>
            <a:r>
              <a:rPr lang="nb-NO" sz="1600" dirty="0">
                <a:cs typeface="Arial"/>
              </a:rPr>
              <a:t>Listene kan ikke brukes til noe annet enn bruksområdet man har informert om.</a:t>
            </a:r>
          </a:p>
          <a:p>
            <a:pPr marL="846455" lvl="1" indent="-285750">
              <a:buFont typeface="Arial"/>
              <a:buChar char="•"/>
            </a:pPr>
            <a:r>
              <a:rPr lang="nb-NO" sz="1600" dirty="0">
                <a:cs typeface="Arial"/>
              </a:rPr>
              <a:t>Hvis man skal slå sammen flere datakilder (for eks. laste dem opp i et register), så må deltakere informeres om dette.</a:t>
            </a:r>
          </a:p>
          <a:p>
            <a:pPr marL="846455" lvl="1" indent="-285750">
              <a:buFont typeface="Arial"/>
              <a:buChar char="•"/>
            </a:pPr>
            <a:r>
              <a:rPr lang="nb-NO" sz="1600" dirty="0">
                <a:cs typeface="Arial"/>
                <a:hlinkClick r:id="rId5"/>
              </a:rPr>
              <a:t>Les mer om lagring og påmelding på For ansatte-sidene om dette.</a:t>
            </a:r>
            <a:endParaRPr lang="nb-NO" sz="1600" dirty="0">
              <a:cs typeface="Arial"/>
            </a:endParaRPr>
          </a:p>
          <a:p>
            <a:pPr marL="846455" lvl="1" indent="-285750">
              <a:buFont typeface="Arial"/>
              <a:buChar char="•"/>
            </a:pPr>
            <a:endParaRPr lang="nb-NO" sz="1600" dirty="0">
              <a:cs typeface="Arial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CA485D9-1DA1-7D87-D314-06A7C66BD1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8D1DA03-4388-BAD3-95E6-C9764107CC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22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1816294-F669-1871-FA64-69BFC17315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>
                <a:cs typeface="Arial"/>
              </a:rPr>
              <a:t>8. </a:t>
            </a:r>
            <a:r>
              <a:rPr lang="en-US" sz="3200" dirty="0" err="1">
                <a:cs typeface="Arial"/>
              </a:rPr>
              <a:t>Rutiner</a:t>
            </a:r>
            <a:r>
              <a:rPr lang="en-US" sz="3200" dirty="0">
                <a:cs typeface="Arial"/>
              </a:rPr>
              <a:t> for GDPR </a:t>
            </a:r>
            <a:r>
              <a:rPr lang="en-US" sz="3200" dirty="0" err="1">
                <a:cs typeface="Arial"/>
              </a:rPr>
              <a:t>og</a:t>
            </a:r>
            <a:r>
              <a:rPr lang="en-US" sz="3200" dirty="0">
                <a:cs typeface="Arial"/>
              </a:rPr>
              <a:t> media</a:t>
            </a:r>
            <a:endParaRPr lang="en-US" sz="320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1248315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bilde 1">
            <a:extLst>
              <a:ext uri="{FF2B5EF4-FFF2-40B4-BE49-F238E27FC236}">
                <a16:creationId xmlns:a16="http://schemas.microsoft.com/office/drawing/2014/main" id="{61BF4AF1-3FED-4666-8ADB-6F30799368D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/>
      </p:sp>
      <p:sp>
        <p:nvSpPr>
          <p:cNvPr id="4" name="Tittel 3">
            <a:extLst>
              <a:ext uri="{FF2B5EF4-FFF2-40B4-BE49-F238E27FC236}">
                <a16:creationId xmlns:a16="http://schemas.microsoft.com/office/drawing/2014/main" id="{78478C57-20C2-4D3E-9510-772A589C3E6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3999" y="2489618"/>
            <a:ext cx="9144000" cy="1878763"/>
          </a:xfrm>
        </p:spPr>
        <p:txBody>
          <a:bodyPr/>
          <a:lstStyle/>
          <a:p>
            <a:r>
              <a:rPr lang="nb-NO" sz="4500"/>
              <a:t>Spørsmål?</a:t>
            </a:r>
            <a:br>
              <a:rPr lang="nb-NO" sz="4500"/>
            </a:br>
            <a:br>
              <a:rPr lang="nb-NO" sz="4500"/>
            </a:br>
            <a:r>
              <a:rPr lang="nb-NO" sz="3600"/>
              <a:t>Send mail til </a:t>
            </a:r>
            <a:r>
              <a:rPr lang="nb-NO" sz="3600">
                <a:hlinkClick r:id="rId2"/>
              </a:rPr>
              <a:t>tarjeibr@ikos.uio.no</a:t>
            </a:r>
            <a:r>
              <a:rPr lang="nb-NO" sz="4500"/>
              <a:t> </a:t>
            </a:r>
            <a:r>
              <a:rPr lang="nb-NO" sz="3600"/>
              <a:t>eller stikk innom rom 478.</a:t>
            </a:r>
            <a:endParaRPr lang="nb-NO"/>
          </a:p>
        </p:txBody>
      </p:sp>
      <p:sp>
        <p:nvSpPr>
          <p:cNvPr id="5" name="Plassholder for tekst 4">
            <a:extLst>
              <a:ext uri="{FF2B5EF4-FFF2-40B4-BE49-F238E27FC236}">
                <a16:creationId xmlns:a16="http://schemas.microsoft.com/office/drawing/2014/main" id="{1AC84F2F-94B0-4B0F-8146-CBD71D94157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48EE03C8-262C-4406-A12D-29F69982F9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9607B984-7F0C-4932-8E58-B04A6A6130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195102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innhold 1">
            <a:extLst>
              <a:ext uri="{FF2B5EF4-FFF2-40B4-BE49-F238E27FC236}">
                <a16:creationId xmlns:a16="http://schemas.microsoft.com/office/drawing/2014/main" id="{5D64EC73-9AB4-48A3-AA6B-7EE12DCC1C06}"/>
              </a:ext>
            </a:extLst>
          </p:cNvPr>
          <p:cNvSpPr>
            <a:spLocks noGrp="1"/>
          </p:cNvSpPr>
          <p:nvPr>
            <p:ph sz="quarter" idx="28"/>
          </p:nvPr>
        </p:nvSpPr>
        <p:spPr/>
        <p:txBody>
          <a:bodyPr vert="horz" lIns="0" tIns="0" rIns="0" bIns="0" rtlCol="0" anchor="t"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2000" dirty="0"/>
              <a:t>Arbeidstimer registreres i </a:t>
            </a:r>
            <a:r>
              <a:rPr lang="nb-NO" sz="2000" dirty="0">
                <a:hlinkClick r:id="rId2"/>
              </a:rPr>
              <a:t>Selvbetjeningsportalen</a:t>
            </a:r>
            <a:r>
              <a:rPr lang="nb-NO" sz="2000" dirty="0"/>
              <a:t> dersom man har timekontrakt. 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2000" dirty="0"/>
              <a:t>Prosjektleder er din nærmeste kontaktperson; i administrasjonen er det Tarjei (</a:t>
            </a:r>
            <a:r>
              <a:rPr lang="nb-NO" sz="2000" dirty="0">
                <a:hlinkClick r:id="rId3"/>
              </a:rPr>
              <a:t>tarjeibr@ikos.uio.no</a:t>
            </a:r>
            <a:r>
              <a:rPr lang="nb-NO" sz="2000" dirty="0"/>
              <a:t>).   </a:t>
            </a:r>
            <a:endParaRPr lang="nb-NO" sz="2000" dirty="0"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2000" dirty="0"/>
              <a:t>Alle spørsmål vedr. innkjøp kan tas med Sigurd på </a:t>
            </a:r>
            <a:r>
              <a:rPr lang="nb-NO" sz="2000" dirty="0">
                <a:hlinkClick r:id="rId4"/>
              </a:rPr>
              <a:t>innkjop@ikos.uio.no</a:t>
            </a:r>
            <a:r>
              <a:rPr lang="nb-NO" sz="2000" dirty="0"/>
              <a:t>. Stikk også gjerne innom ham på 474.</a:t>
            </a:r>
            <a:endParaRPr lang="nb-NO" sz="2000" dirty="0"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2000" dirty="0"/>
              <a:t>Som vit.ass. kan det hende at du må forvalte sensitiv informasjon eller står i fare for å utsettes for dataangrep. Benytt derfor ALLTID universitets-e-posten din i jobb.</a:t>
            </a:r>
            <a:endParaRPr lang="nb-NO" sz="2000" dirty="0"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2000" dirty="0"/>
              <a:t>Dersom du jobber utenfor universitetet, kan det være fordelaktig å benytte og/eller installere </a:t>
            </a:r>
            <a:r>
              <a:rPr lang="nb-NO" sz="2000" dirty="0">
                <a:hlinkClick r:id="rId5"/>
              </a:rPr>
              <a:t>UiOs programkiosk</a:t>
            </a:r>
            <a:r>
              <a:rPr lang="nb-NO" sz="2000" dirty="0"/>
              <a:t>. Denne lar deg jobbe hjemmefra som om du skulle bruke en universitets-PC.</a:t>
            </a:r>
            <a:endParaRPr lang="nb-NO" sz="2000" dirty="0"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2000" dirty="0"/>
              <a:t>Dersom du skulle bli utsatt for dataangrep eller </a:t>
            </a:r>
            <a:r>
              <a:rPr lang="nb-NO" sz="2000" dirty="0" err="1"/>
              <a:t>phishing</a:t>
            </a:r>
            <a:r>
              <a:rPr lang="nb-NO" sz="2000" dirty="0"/>
              <a:t>, </a:t>
            </a:r>
            <a:r>
              <a:rPr lang="nb-NO" sz="2000" dirty="0">
                <a:hlinkClick r:id="rId6"/>
              </a:rPr>
              <a:t>bytt passord</a:t>
            </a:r>
            <a:r>
              <a:rPr lang="nb-NO" sz="2000" dirty="0"/>
              <a:t> umiddelbart og meld inn til universitetets sikkerhetsteam </a:t>
            </a:r>
            <a:r>
              <a:rPr lang="nb-NO" sz="2000" dirty="0">
                <a:hlinkClick r:id="rId7"/>
              </a:rPr>
              <a:t>UiO-CERT</a:t>
            </a:r>
            <a:r>
              <a:rPr lang="nb-NO" sz="2000" dirty="0"/>
              <a:t>. Ikke skam deg – sånt skjer.</a:t>
            </a:r>
            <a:endParaRPr lang="nb-NO" sz="2000" dirty="0"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2000" dirty="0">
                <a:hlinkClick r:id="rId8"/>
              </a:rPr>
              <a:t>Enkel oversikt over datalagringsregler og –retningslinjer.</a:t>
            </a:r>
            <a:endParaRPr lang="nb-NO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240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2400"/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5F497FD3-1CF4-4B05-9047-1D0DA333687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4BBBAA9A-9969-439E-BF0D-F697610E9B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5" name="Tittel 4">
            <a:extLst>
              <a:ext uri="{FF2B5EF4-FFF2-40B4-BE49-F238E27FC236}">
                <a16:creationId xmlns:a16="http://schemas.microsoft.com/office/drawing/2014/main" id="{74FAFBB9-0562-4239-ACC6-3F1591F07F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z="3200"/>
              <a:t>1. Ny som vit.ass.? Dette må du vite…	</a:t>
            </a:r>
          </a:p>
        </p:txBody>
      </p:sp>
    </p:spTree>
    <p:extLst>
      <p:ext uri="{BB962C8B-B14F-4D97-AF65-F5344CB8AC3E}">
        <p14:creationId xmlns:p14="http://schemas.microsoft.com/office/powerpoint/2010/main" val="282412816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innhold 1">
            <a:extLst>
              <a:ext uri="{FF2B5EF4-FFF2-40B4-BE49-F238E27FC236}">
                <a16:creationId xmlns:a16="http://schemas.microsoft.com/office/drawing/2014/main" id="{73C47AB5-B064-4D4E-9162-F0E9659189CE}"/>
              </a:ext>
            </a:extLst>
          </p:cNvPr>
          <p:cNvSpPr>
            <a:spLocks noGrp="1"/>
          </p:cNvSpPr>
          <p:nvPr>
            <p:ph sz="quarter" idx="28"/>
          </p:nvPr>
        </p:nvSpPr>
        <p:spPr/>
        <p:txBody>
          <a:bodyPr vert="horz" lIns="0" tIns="0" rIns="0" bIns="0" rtlCol="0" anchor="t"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800" b="1" dirty="0"/>
              <a:t>Før du engang tenker på å bestille noe som helst: KONTAKT </a:t>
            </a:r>
            <a:r>
              <a:rPr lang="nb-NO" sz="1800" b="1" dirty="0">
                <a:hlinkClick r:id="rId2"/>
              </a:rPr>
              <a:t>innkjop@ikos.uio.no</a:t>
            </a:r>
            <a:r>
              <a:rPr lang="nb-NO" sz="1800" b="1" dirty="0"/>
              <a:t> for hjelp og veiledning. Som ansatt får man ikke bestille noe uten samtykke fra institutte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800" dirty="0"/>
              <a:t>UiO benytter seg av en rekke rammeavtaler for bestilling av varer og reiser. Man kan IKKE gå utenom disse rammeavtalene og forvente dekning/refusjon.</a:t>
            </a:r>
            <a:endParaRPr lang="nb-NO" sz="1800" dirty="0"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800" dirty="0"/>
              <a:t>Vær ute i god tid før selve leverings-/arrangementsdatoen, MINST 7 VIRKEDAGER.</a:t>
            </a:r>
            <a:endParaRPr lang="nb-NO" sz="1800" dirty="0"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800" b="1" dirty="0"/>
              <a:t>Sett dere inn i </a:t>
            </a:r>
            <a:r>
              <a:rPr lang="nb-NO" sz="1800" b="1" dirty="0">
                <a:hlinkClick r:id="rId3"/>
              </a:rPr>
              <a:t>UiOs retningslinjer for bevertning og representasjon</a:t>
            </a:r>
            <a:r>
              <a:rPr lang="nb-NO" sz="1800" dirty="0"/>
              <a:t>. Prissatser følger på neste lysark, men det kan være gunstig å bli kjent med reglene for øvrig.</a:t>
            </a:r>
            <a:endParaRPr lang="nb-NO" sz="1800" dirty="0">
              <a:cs typeface="Arial"/>
            </a:endParaRPr>
          </a:p>
          <a:p>
            <a:pPr marL="845820" lvl="1" indent="-285750">
              <a:buFont typeface="Arial" panose="020B0604020202020204" pitchFamily="34" charset="0"/>
              <a:buChar char="•"/>
            </a:pPr>
            <a:r>
              <a:rPr lang="nb-NO" sz="1600" dirty="0">
                <a:cs typeface="Arial"/>
              </a:rPr>
              <a:t>Man benytter aldri representasjonssatsen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800" dirty="0"/>
              <a:t>IKOS har to skjemaer for slike bestillinger. Merk at bespisning helst skal foregå i UiOs lokaler:</a:t>
            </a:r>
            <a:endParaRPr lang="nb-NO" sz="1800" dirty="0">
              <a:solidFill>
                <a:schemeClr val="tx1"/>
              </a:solidFill>
            </a:endParaRPr>
          </a:p>
          <a:p>
            <a:pPr marL="845820" lvl="1" indent="-285750">
              <a:buFont typeface="Arial" panose="020B0604020202020204" pitchFamily="34" charset="0"/>
              <a:buChar char="•"/>
            </a:pPr>
            <a:r>
              <a:rPr lang="nb-NO" sz="1400" dirty="0">
                <a:solidFill>
                  <a:srgbClr val="0070C0"/>
                </a:solidFill>
                <a:latin typeface="Arial"/>
                <a:cs typeface="Arial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Bestilling av catering</a:t>
            </a:r>
            <a:endParaRPr lang="nb-NO" sz="1400" dirty="0">
              <a:solidFill>
                <a:srgbClr val="0070C0"/>
              </a:solidFill>
              <a:latin typeface="Arial"/>
              <a:cs typeface="Arial"/>
            </a:endParaRPr>
          </a:p>
          <a:p>
            <a:pPr marL="845820" lvl="1" indent="-285750">
              <a:buFont typeface="Arial" panose="020B0604020202020204" pitchFamily="34" charset="0"/>
              <a:buChar char="•"/>
            </a:pPr>
            <a:r>
              <a:rPr lang="nb-NO" sz="1400" b="0" i="0" u="none" strike="noStrike" dirty="0">
                <a:solidFill>
                  <a:srgbClr val="0070C0"/>
                </a:solidFill>
                <a:effectLst/>
                <a:latin typeface="Arial"/>
                <a:cs typeface="Arial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Bestilling av restaurantbesøk</a:t>
            </a:r>
            <a:endParaRPr lang="nb-NO" sz="1400" b="0" i="0" u="none" strike="noStrike" dirty="0">
              <a:solidFill>
                <a:srgbClr val="0070C0"/>
              </a:solidFill>
              <a:effectLst/>
              <a:latin typeface="Arial"/>
              <a:cs typeface="Arial"/>
            </a:endParaRPr>
          </a:p>
          <a:p>
            <a:pPr marL="845820" lvl="1" indent="-285750" fontAlgn="base">
              <a:buFont typeface="Arial" panose="020B0604020202020204" pitchFamily="34" charset="0"/>
              <a:buChar char="•"/>
            </a:pPr>
            <a:r>
              <a:rPr lang="nb-NO" sz="1400" dirty="0">
                <a:effectLst/>
                <a:latin typeface="Arial"/>
                <a:ea typeface="DengXian"/>
                <a:cs typeface="Arial"/>
              </a:rPr>
              <a:t>Send skjemaet sammen med deltakerliste/ invitasjonsliste og eventuell annen dokumentasjon</a:t>
            </a:r>
            <a:r>
              <a:rPr lang="nb-NO" sz="1400" dirty="0">
                <a:latin typeface="Arial"/>
                <a:ea typeface="DengXian"/>
                <a:cs typeface="Arial"/>
              </a:rPr>
              <a:t> (for eksempel program) </a:t>
            </a:r>
            <a:r>
              <a:rPr lang="nb-NO" sz="1400" dirty="0">
                <a:effectLst/>
                <a:latin typeface="Arial"/>
                <a:ea typeface="DengXian"/>
                <a:cs typeface="Arial"/>
              </a:rPr>
              <a:t>til </a:t>
            </a:r>
            <a:r>
              <a:rPr lang="nb-NO" sz="1400" u="sng" dirty="0">
                <a:effectLst/>
                <a:latin typeface="Arial"/>
                <a:ea typeface="DengXian"/>
                <a:cs typeface="Arial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din enhets innkjøper/rekvirent</a:t>
            </a:r>
            <a:r>
              <a:rPr lang="nb-NO" sz="1400" dirty="0">
                <a:effectLst/>
                <a:latin typeface="Arial"/>
                <a:ea typeface="DengXian"/>
                <a:cs typeface="Arial"/>
              </a:rPr>
              <a:t>.</a:t>
            </a:r>
          </a:p>
          <a:p>
            <a:pPr marL="845820" lvl="1" indent="-285750" fontAlgn="base">
              <a:spcBef>
                <a:spcPts val="750"/>
              </a:spcBef>
              <a:spcAft>
                <a:spcPts val="375"/>
              </a:spcAft>
              <a:buFont typeface="Arial" panose="020B0604020202020204" pitchFamily="34" charset="0"/>
              <a:buChar char="•"/>
            </a:pPr>
            <a:r>
              <a:rPr lang="nb-NO" sz="1400" dirty="0">
                <a:effectLst/>
                <a:latin typeface="Arial"/>
                <a:ea typeface="DengXian"/>
                <a:cs typeface="Arial"/>
              </a:rPr>
              <a:t>Ved enkel bevertning, åpent arrangement eller der hvor det ikke er mulig eller praktisk å skaffe deltakerliste, må en </a:t>
            </a:r>
            <a:r>
              <a:rPr lang="nb-NO" sz="1400" b="1" dirty="0">
                <a:effectLst/>
                <a:latin typeface="Arial"/>
                <a:ea typeface="DengXian"/>
                <a:cs typeface="Arial"/>
              </a:rPr>
              <a:t>estimert deltakermasse </a:t>
            </a:r>
            <a:r>
              <a:rPr lang="nb-NO" sz="1400" dirty="0">
                <a:effectLst/>
                <a:latin typeface="Arial"/>
                <a:ea typeface="DengXian"/>
                <a:cs typeface="Arial"/>
              </a:rPr>
              <a:t>defineres med beskrivelse og antall. Dette kan være arrangement av typen «Åpen dag for studenter» o.l.. Enkel bevertning kan eksempelvis være gløgg og pepperkaker.</a:t>
            </a:r>
          </a:p>
          <a:p>
            <a:pPr marL="845820" lvl="1" indent="-285750">
              <a:buFont typeface="Arial" panose="020B0604020202020204" pitchFamily="34" charset="0"/>
              <a:buChar char="•"/>
            </a:pPr>
            <a:endParaRPr lang="nb-NO" sz="1800" b="0" i="0" u="none" strike="noStrike"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/>
            <a:endParaRPr lang="nb-NO" sz="2400" b="0" i="0" u="none" strike="noStrike"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C9AE8C48-2FC2-45A8-B265-67A047B18EA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1EFD1EA3-5B3A-4830-A18E-3F2430968C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5" name="Tittel 4">
            <a:extLst>
              <a:ext uri="{FF2B5EF4-FFF2-40B4-BE49-F238E27FC236}">
                <a16:creationId xmlns:a16="http://schemas.microsoft.com/office/drawing/2014/main" id="{5D606793-278F-4C42-8B80-A2FAD83E62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z="3200"/>
              <a:t>2. Rutiner for bestilling av bevertning og restaurantbesøk</a:t>
            </a:r>
          </a:p>
        </p:txBody>
      </p:sp>
    </p:spTree>
    <p:extLst>
      <p:ext uri="{BB962C8B-B14F-4D97-AF65-F5344CB8AC3E}">
        <p14:creationId xmlns:p14="http://schemas.microsoft.com/office/powerpoint/2010/main" val="110907391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innhold 1">
            <a:extLst>
              <a:ext uri="{FF2B5EF4-FFF2-40B4-BE49-F238E27FC236}">
                <a16:creationId xmlns:a16="http://schemas.microsoft.com/office/drawing/2014/main" id="{2F224AED-B495-4220-A22E-A10AD092915F}"/>
              </a:ext>
            </a:extLst>
          </p:cNvPr>
          <p:cNvSpPr>
            <a:spLocks noGrp="1"/>
          </p:cNvSpPr>
          <p:nvPr>
            <p:ph sz="quarter" idx="28"/>
          </p:nvPr>
        </p:nvSpPr>
        <p:spPr/>
        <p:txBody>
          <a:bodyPr/>
          <a:lstStyle/>
          <a:p>
            <a:pPr marL="846146" lvl="1" indent="-285750">
              <a:buFont typeface="Arial" panose="020B0604020202020204" pitchFamily="34" charset="0"/>
              <a:buChar char="•"/>
            </a:pPr>
            <a:r>
              <a:rPr lang="nb-NO" sz="1600"/>
              <a:t>Bestilling av bevertning og restaurantbesøk følger noen fastsatte prissatser (à 2022). Priser er PER DELTAKER.</a:t>
            </a:r>
          </a:p>
          <a:p>
            <a:pPr marL="846146" lvl="1" indent="-285750">
              <a:buFont typeface="Arial" panose="020B0604020202020204" pitchFamily="34" charset="0"/>
              <a:buChar char="•"/>
            </a:pPr>
            <a:endParaRPr lang="nb-NO" sz="1600"/>
          </a:p>
          <a:p>
            <a:pPr marL="846146" lvl="1" indent="-285750">
              <a:buFont typeface="Arial" panose="020B0604020202020204" pitchFamily="34" charset="0"/>
              <a:buChar char="•"/>
            </a:pPr>
            <a:endParaRPr lang="nb-NO" sz="1600"/>
          </a:p>
          <a:p>
            <a:pPr marL="846146" lvl="1" indent="-285750">
              <a:buFont typeface="Arial" panose="020B0604020202020204" pitchFamily="34" charset="0"/>
              <a:buChar char="•"/>
            </a:pPr>
            <a:endParaRPr lang="nb-NO" sz="1600"/>
          </a:p>
          <a:p>
            <a:pPr marL="846146" lvl="1" indent="-285750">
              <a:buFont typeface="Arial" panose="020B0604020202020204" pitchFamily="34" charset="0"/>
              <a:buChar char="•"/>
            </a:pPr>
            <a:endParaRPr lang="nb-NO" sz="1600"/>
          </a:p>
          <a:p>
            <a:pPr marL="846146" lvl="1" indent="-285750">
              <a:buFont typeface="Arial" panose="020B0604020202020204" pitchFamily="34" charset="0"/>
              <a:buChar char="•"/>
            </a:pPr>
            <a:endParaRPr lang="nb-NO" sz="1600"/>
          </a:p>
          <a:p>
            <a:pPr marL="846146" lvl="1" indent="-285750">
              <a:buFont typeface="Arial" panose="020B0604020202020204" pitchFamily="34" charset="0"/>
              <a:buChar char="•"/>
            </a:pPr>
            <a:endParaRPr lang="nb-NO" sz="1600"/>
          </a:p>
          <a:p>
            <a:pPr marL="846146" lvl="1" indent="-285750">
              <a:buFont typeface="Arial" panose="020B0604020202020204" pitchFamily="34" charset="0"/>
              <a:buChar char="•"/>
            </a:pPr>
            <a:endParaRPr lang="nb-NO" sz="1600"/>
          </a:p>
          <a:p>
            <a:pPr marL="846146" lvl="1" indent="-285750">
              <a:buFont typeface="Arial" panose="020B0604020202020204" pitchFamily="34" charset="0"/>
              <a:buChar char="•"/>
            </a:pPr>
            <a:endParaRPr lang="nb-NO" sz="1600"/>
          </a:p>
          <a:p>
            <a:pPr marL="846146" lvl="1" indent="-285750">
              <a:buFont typeface="Arial" panose="020B0604020202020204" pitchFamily="34" charset="0"/>
              <a:buChar char="•"/>
            </a:pPr>
            <a:endParaRPr lang="nb-NO" sz="1600"/>
          </a:p>
          <a:p>
            <a:pPr marL="846146" lvl="1" indent="-285750">
              <a:buFont typeface="Arial" panose="020B0604020202020204" pitchFamily="34" charset="0"/>
              <a:buChar char="•"/>
            </a:pPr>
            <a:endParaRPr lang="nb-NO" sz="1600"/>
          </a:p>
          <a:p>
            <a:pPr marL="846146" lvl="1" indent="-285750">
              <a:buFont typeface="Arial" panose="020B0604020202020204" pitchFamily="34" charset="0"/>
              <a:buChar char="•"/>
            </a:pPr>
            <a:endParaRPr lang="nb-NO" sz="1600"/>
          </a:p>
          <a:p>
            <a:pPr marL="846146" lvl="1" indent="-285750">
              <a:buFont typeface="Arial" panose="020B0604020202020204" pitchFamily="34" charset="0"/>
              <a:buChar char="•"/>
            </a:pPr>
            <a:endParaRPr lang="nb-NO" sz="1600"/>
          </a:p>
          <a:p>
            <a:pPr marL="846146" lvl="1" indent="-285750">
              <a:buFont typeface="Arial" panose="020B0604020202020204" pitchFamily="34" charset="0"/>
              <a:buChar char="•"/>
            </a:pPr>
            <a:endParaRPr lang="nb-NO" sz="1600"/>
          </a:p>
          <a:p>
            <a:pPr marL="846146" lvl="1" indent="-285750">
              <a:buFont typeface="Arial" panose="020B0604020202020204" pitchFamily="34" charset="0"/>
              <a:buChar char="•"/>
            </a:pPr>
            <a:endParaRPr lang="nb-NO" sz="1600"/>
          </a:p>
          <a:p>
            <a:pPr marL="560396" lvl="1" indent="0">
              <a:buNone/>
            </a:pPr>
            <a:endParaRPr lang="nb-NO" sz="160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/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05ADEA25-B971-4D47-B04B-F6854F8B764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788556" y="6369421"/>
            <a:ext cx="4547235" cy="259232"/>
          </a:xfrm>
        </p:spPr>
        <p:txBody>
          <a:bodyPr/>
          <a:lstStyle/>
          <a:p>
            <a:r>
              <a:rPr lang="nb-NO" sz="1000"/>
              <a:t>*</a:t>
            </a:r>
            <a:r>
              <a:rPr lang="nb-NO" sz="1000" b="0" i="0">
                <a:solidFill>
                  <a:srgbClr val="000000"/>
                </a:solidFill>
                <a:effectLst/>
                <a:latin typeface="Helvetica" panose="020B0604020202020204" pitchFamily="34" charset="0"/>
              </a:rPr>
              <a:t> Bevertning av annet enn kaffe på arrangementer under 3 timer forutsetter at eksterne deltakere er til stede.</a:t>
            </a:r>
            <a:endParaRPr lang="nb-NO" sz="1000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78C933E5-EC17-4B1A-98EC-387E814316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5" name="Tittel 4">
            <a:extLst>
              <a:ext uri="{FF2B5EF4-FFF2-40B4-BE49-F238E27FC236}">
                <a16:creationId xmlns:a16="http://schemas.microsoft.com/office/drawing/2014/main" id="{5D7C4557-8444-4BF9-8393-E63E2F12E9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z="3200"/>
              <a:t>2. Rutiner for bestilling av bevertning og restaurantbesøk, fort.</a:t>
            </a:r>
          </a:p>
        </p:txBody>
      </p:sp>
      <p:graphicFrame>
        <p:nvGraphicFramePr>
          <p:cNvPr id="7" name="Tabell 7">
            <a:extLst>
              <a:ext uri="{FF2B5EF4-FFF2-40B4-BE49-F238E27FC236}">
                <a16:creationId xmlns:a16="http://schemas.microsoft.com/office/drawing/2014/main" id="{CA0598F3-831B-4A25-84C2-8A9E3985475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67730397"/>
              </p:ext>
            </p:extLst>
          </p:nvPr>
        </p:nvGraphicFramePr>
        <p:xfrm>
          <a:off x="948047" y="1372086"/>
          <a:ext cx="10295904" cy="436012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431968">
                  <a:extLst>
                    <a:ext uri="{9D8B030D-6E8A-4147-A177-3AD203B41FA5}">
                      <a16:colId xmlns:a16="http://schemas.microsoft.com/office/drawing/2014/main" val="2641217299"/>
                    </a:ext>
                  </a:extLst>
                </a:gridCol>
                <a:gridCol w="3431968">
                  <a:extLst>
                    <a:ext uri="{9D8B030D-6E8A-4147-A177-3AD203B41FA5}">
                      <a16:colId xmlns:a16="http://schemas.microsoft.com/office/drawing/2014/main" val="1477659105"/>
                    </a:ext>
                  </a:extLst>
                </a:gridCol>
                <a:gridCol w="3431968">
                  <a:extLst>
                    <a:ext uri="{9D8B030D-6E8A-4147-A177-3AD203B41FA5}">
                      <a16:colId xmlns:a16="http://schemas.microsoft.com/office/drawing/2014/main" val="1223595123"/>
                    </a:ext>
                  </a:extLst>
                </a:gridCol>
              </a:tblGrid>
              <a:tr h="755285">
                <a:tc>
                  <a:txBody>
                    <a:bodyPr/>
                    <a:lstStyle/>
                    <a:p>
                      <a:pPr algn="l" fontAlgn="t"/>
                      <a:r>
                        <a:rPr lang="nb-NO">
                          <a:solidFill>
                            <a:srgbClr val="000000"/>
                          </a:solidFill>
                          <a:effectLst/>
                        </a:rPr>
                        <a:t>Arrangementer</a:t>
                      </a:r>
                    </a:p>
                  </a:txBody>
                  <a:tcPr marL="190500" marR="190500" marT="152400" marB="15240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nb-NO">
                          <a:solidFill>
                            <a:srgbClr val="000000"/>
                          </a:solidFill>
                          <a:effectLst/>
                          <a:hlinkClick r:id="rId2"/>
                        </a:rPr>
                        <a:t>Bevertning i</a:t>
                      </a:r>
                      <a:br>
                        <a:rPr lang="nb-NO">
                          <a:solidFill>
                            <a:srgbClr val="000000"/>
                          </a:solidFill>
                          <a:effectLst/>
                          <a:hlinkClick r:id="rId2"/>
                        </a:rPr>
                      </a:br>
                      <a:r>
                        <a:rPr lang="nb-NO">
                          <a:solidFill>
                            <a:srgbClr val="000000"/>
                          </a:solidFill>
                          <a:effectLst/>
                          <a:hlinkClick r:id="rId2"/>
                        </a:rPr>
                        <a:t>UiOs lokaler</a:t>
                      </a:r>
                      <a:endParaRPr lang="nb-NO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190500" marR="190500" marT="152400" marB="15240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nb-NO">
                          <a:solidFill>
                            <a:srgbClr val="000000"/>
                          </a:solidFill>
                          <a:effectLst/>
                          <a:hlinkClick r:id="rId3"/>
                        </a:rPr>
                        <a:t>Bevertning utenfor</a:t>
                      </a:r>
                      <a:br>
                        <a:rPr lang="nb-NO">
                          <a:solidFill>
                            <a:srgbClr val="000000"/>
                          </a:solidFill>
                          <a:effectLst/>
                          <a:hlinkClick r:id="rId3"/>
                        </a:rPr>
                      </a:br>
                      <a:r>
                        <a:rPr lang="nb-NO">
                          <a:solidFill>
                            <a:srgbClr val="000000"/>
                          </a:solidFill>
                          <a:effectLst/>
                          <a:hlinkClick r:id="rId3"/>
                        </a:rPr>
                        <a:t>UiOs lokaler</a:t>
                      </a:r>
                      <a:endParaRPr lang="nb-NO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190500" marR="190500" marT="152400" marB="152400"/>
                </a:tc>
                <a:extLst>
                  <a:ext uri="{0D108BD9-81ED-4DB2-BD59-A6C34878D82A}">
                    <a16:rowId xmlns:a16="http://schemas.microsoft.com/office/drawing/2014/main" val="1864776377"/>
                  </a:ext>
                </a:extLst>
              </a:tr>
              <a:tr h="755285">
                <a:tc>
                  <a:txBody>
                    <a:bodyPr/>
                    <a:lstStyle/>
                    <a:p>
                      <a:pPr algn="l" fontAlgn="t"/>
                      <a:r>
                        <a:rPr lang="nb-NO">
                          <a:effectLst/>
                        </a:rPr>
                        <a:t>≤ 3 timer i arbeidstiden</a:t>
                      </a:r>
                    </a:p>
                  </a:txBody>
                  <a:tcPr marL="190500" marR="190500" marT="152400" marB="15240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nb-NO">
                          <a:effectLst/>
                        </a:rPr>
                        <a:t>Kaffe/kr 197*</a:t>
                      </a:r>
                    </a:p>
                  </a:txBody>
                  <a:tcPr marL="190500" marR="190500" marT="152400" marB="15240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nb-NO">
                          <a:effectLst/>
                        </a:rPr>
                        <a:t>kr 296</a:t>
                      </a:r>
                    </a:p>
                  </a:txBody>
                  <a:tcPr marL="190500" marR="190500" marT="152400" marB="152400"/>
                </a:tc>
                <a:extLst>
                  <a:ext uri="{0D108BD9-81ED-4DB2-BD59-A6C34878D82A}">
                    <a16:rowId xmlns:a16="http://schemas.microsoft.com/office/drawing/2014/main" val="2140066626"/>
                  </a:ext>
                </a:extLst>
              </a:tr>
              <a:tr h="998056">
                <a:tc>
                  <a:txBody>
                    <a:bodyPr/>
                    <a:lstStyle/>
                    <a:p>
                      <a:pPr algn="l" fontAlgn="t"/>
                      <a:r>
                        <a:rPr lang="nb-NO">
                          <a:effectLst/>
                        </a:rPr>
                        <a:t>&gt; 3 timer i arbeidstiden</a:t>
                      </a:r>
                      <a:br>
                        <a:rPr lang="nb-NO">
                          <a:effectLst/>
                        </a:rPr>
                      </a:br>
                      <a:r>
                        <a:rPr lang="nb-NO">
                          <a:effectLst/>
                        </a:rPr>
                        <a:t>og går inn i lunsjtiden</a:t>
                      </a:r>
                    </a:p>
                  </a:txBody>
                  <a:tcPr marL="190500" marR="190500" marT="152400" marB="15240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nb-NO">
                          <a:effectLst/>
                        </a:rPr>
                        <a:t>kr 197</a:t>
                      </a:r>
                    </a:p>
                  </a:txBody>
                  <a:tcPr marL="190500" marR="190500" marT="152400" marB="15240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nb-NO">
                          <a:effectLst/>
                        </a:rPr>
                        <a:t>kr 296</a:t>
                      </a:r>
                    </a:p>
                  </a:txBody>
                  <a:tcPr marL="190500" marR="190500" marT="152400" marB="152400"/>
                </a:tc>
                <a:extLst>
                  <a:ext uri="{0D108BD9-81ED-4DB2-BD59-A6C34878D82A}">
                    <a16:rowId xmlns:a16="http://schemas.microsoft.com/office/drawing/2014/main" val="1955774833"/>
                  </a:ext>
                </a:extLst>
              </a:tr>
              <a:tr h="755285">
                <a:tc>
                  <a:txBody>
                    <a:bodyPr/>
                    <a:lstStyle/>
                    <a:p>
                      <a:pPr algn="l" fontAlgn="t"/>
                      <a:r>
                        <a:rPr lang="nb-NO">
                          <a:effectLst/>
                        </a:rPr>
                        <a:t>&gt; 3 timer utover arbeidstiden</a:t>
                      </a:r>
                    </a:p>
                  </a:txBody>
                  <a:tcPr marL="190500" marR="190500" marT="152400" marB="15240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nb-NO">
                          <a:effectLst/>
                        </a:rPr>
                        <a:t>kr 446</a:t>
                      </a:r>
                    </a:p>
                  </a:txBody>
                  <a:tcPr marL="190500" marR="190500" marT="152400" marB="15240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nb-NO">
                          <a:effectLst/>
                        </a:rPr>
                        <a:t>kr 669</a:t>
                      </a:r>
                    </a:p>
                  </a:txBody>
                  <a:tcPr marL="190500" marR="190500" marT="152400" marB="152400"/>
                </a:tc>
                <a:extLst>
                  <a:ext uri="{0D108BD9-81ED-4DB2-BD59-A6C34878D82A}">
                    <a16:rowId xmlns:a16="http://schemas.microsoft.com/office/drawing/2014/main" val="600998153"/>
                  </a:ext>
                </a:extLst>
              </a:tr>
              <a:tr h="998056">
                <a:tc>
                  <a:txBody>
                    <a:bodyPr/>
                    <a:lstStyle/>
                    <a:p>
                      <a:pPr algn="l" fontAlgn="t"/>
                      <a:r>
                        <a:rPr lang="nb-NO">
                          <a:effectLst/>
                        </a:rPr>
                        <a:t>Langvarig og nødvendig med to serveringer</a:t>
                      </a:r>
                    </a:p>
                  </a:txBody>
                  <a:tcPr marL="190500" marR="190500" marT="152400" marB="15240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nb-NO">
                          <a:effectLst/>
                        </a:rPr>
                        <a:t>kr 652</a:t>
                      </a:r>
                    </a:p>
                  </a:txBody>
                  <a:tcPr marL="190500" marR="190500" marT="152400" marB="15240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nb-NO">
                          <a:effectLst/>
                        </a:rPr>
                        <a:t>kr 979</a:t>
                      </a:r>
                    </a:p>
                  </a:txBody>
                  <a:tcPr marL="190500" marR="190500" marT="152400" marB="152400"/>
                </a:tc>
                <a:extLst>
                  <a:ext uri="{0D108BD9-81ED-4DB2-BD59-A6C34878D82A}">
                    <a16:rowId xmlns:a16="http://schemas.microsoft.com/office/drawing/2014/main" val="105144806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6825172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innhold 1">
            <a:extLst>
              <a:ext uri="{FF2B5EF4-FFF2-40B4-BE49-F238E27FC236}">
                <a16:creationId xmlns:a16="http://schemas.microsoft.com/office/drawing/2014/main" id="{7BDFAA39-01C2-4A7B-9B47-D4F6FCE445D2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60044" y="1082726"/>
            <a:ext cx="6444517" cy="4817312"/>
          </a:xfrm>
        </p:spPr>
        <p:txBody>
          <a:bodyPr vert="horz" lIns="0" tIns="0" rIns="0" bIns="0" rtlCol="0" anchor="t"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dirty="0"/>
              <a:t>Ved bestilling av bevertning og restaurantbesøk kreves det en deltakerliste og arrangementsbeskrivelse/-program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dirty="0"/>
              <a:t>Ved restaurantbesøk…</a:t>
            </a:r>
            <a:endParaRPr lang="nb-NO" dirty="0">
              <a:cs typeface="Arial"/>
            </a:endParaRPr>
          </a:p>
          <a:p>
            <a:pPr marL="845820" lvl="1" indent="-285750">
              <a:buFont typeface="Arial" panose="020B0604020202020204" pitchFamily="34" charset="0"/>
              <a:buChar char="•"/>
            </a:pPr>
            <a:r>
              <a:rPr lang="nb-NO" sz="1400" dirty="0"/>
              <a:t>… kan det lønne seg å ringe restauranten på forhånd eller se på menyen for å kunne danne en prisantydning til bestillingsskjemaet.</a:t>
            </a:r>
            <a:endParaRPr lang="nb-NO" sz="1400" dirty="0">
              <a:cs typeface="Arial"/>
            </a:endParaRPr>
          </a:p>
          <a:p>
            <a:pPr marL="845820" lvl="1" indent="-285750">
              <a:buFont typeface="Arial" panose="020B0604020202020204" pitchFamily="34" charset="0"/>
              <a:buChar char="•"/>
            </a:pPr>
            <a:r>
              <a:rPr lang="nb-NO" sz="1400" dirty="0"/>
              <a:t>… skal du ALLTID forsikre deg om at restauranten kan utstede EHF-faktura før bestilling. Ta gjerne dette i samme telefonsamtale som over.</a:t>
            </a:r>
            <a:endParaRPr lang="nb-NO" sz="1400" dirty="0">
              <a:cs typeface="Arial"/>
            </a:endParaRPr>
          </a:p>
          <a:p>
            <a:pPr marL="845820" lvl="1" indent="-285750">
              <a:buFont typeface="Arial" panose="020B0604020202020204" pitchFamily="34" charset="0"/>
              <a:buChar char="•"/>
            </a:pPr>
            <a:r>
              <a:rPr lang="nb-NO" sz="1400" dirty="0"/>
              <a:t>… skal bord bestilles minst én uke i forveien.</a:t>
            </a:r>
            <a:endParaRPr lang="nb-NO" sz="1400" dirty="0">
              <a:cs typeface="Arial"/>
            </a:endParaRPr>
          </a:p>
          <a:p>
            <a:pPr marL="845820" lvl="1" indent="-285750">
              <a:buFont typeface="Arial" panose="020B0604020202020204" pitchFamily="34" charset="0"/>
              <a:buChar char="•"/>
            </a:pPr>
            <a:r>
              <a:rPr lang="nb-NO" sz="1400" dirty="0"/>
              <a:t>… skal du/prosjektleder ta med utskrift av bestillingen til restauranten, og presisere at ordrenummeret/E-nummeret skal påføres fakturaen.</a:t>
            </a:r>
            <a:endParaRPr lang="nb-NO" sz="1400" dirty="0">
              <a:cs typeface="Arial"/>
            </a:endParaRPr>
          </a:p>
          <a:p>
            <a:pPr marL="845820" lvl="1" indent="-285750">
              <a:buFont typeface="Arial" panose="020B0604020202020204" pitchFamily="34" charset="0"/>
              <a:buChar char="•"/>
            </a:pPr>
            <a:r>
              <a:rPr lang="nb-NO" sz="1400" b="0" i="0" u="none" strike="noStrike" dirty="0">
                <a:effectLst/>
                <a:latin typeface="Arial"/>
                <a:cs typeface="Arial"/>
              </a:rPr>
              <a:t>… har man kun lov til å kjøpe opptil to alkoholenheter</a:t>
            </a:r>
            <a:r>
              <a:rPr lang="nb-NO" sz="1400" dirty="0">
                <a:latin typeface="Arial"/>
                <a:cs typeface="Arial"/>
              </a:rPr>
              <a:t> eller </a:t>
            </a:r>
            <a:r>
              <a:rPr lang="nb-NO" sz="1400" b="0" i="0" u="none" strike="noStrike" dirty="0">
                <a:effectLst/>
                <a:latin typeface="Arial"/>
                <a:cs typeface="Arial"/>
              </a:rPr>
              <a:t>glass vin, én til forret</a:t>
            </a:r>
            <a:r>
              <a:rPr lang="nb-NO" sz="1400" dirty="0">
                <a:latin typeface="Arial"/>
                <a:cs typeface="Arial"/>
              </a:rPr>
              <a:t>t og én til hovedrett.</a:t>
            </a:r>
          </a:p>
          <a:p>
            <a:pPr marL="845820" lvl="1" indent="-285750">
              <a:buFont typeface="Arial" panose="020B0604020202020204" pitchFamily="34" charset="0"/>
              <a:buChar char="•"/>
            </a:pPr>
            <a:r>
              <a:rPr lang="nb-NO" sz="1400" b="0" i="0" u="none" strike="noStrike" dirty="0">
                <a:effectLst/>
                <a:latin typeface="Arial"/>
                <a:cs typeface="Arial"/>
              </a:rPr>
              <a:t>… må gjestene gjøre opp for besøket selv ved overskridelse av </a:t>
            </a:r>
            <a:r>
              <a:rPr lang="nb-NO" sz="1400" b="0" i="0" u="none" strike="noStrike" dirty="0" err="1">
                <a:effectLst/>
                <a:latin typeface="Arial"/>
                <a:cs typeface="Arial"/>
              </a:rPr>
              <a:t>prissats</a:t>
            </a:r>
            <a:r>
              <a:rPr lang="nb-NO" sz="1400" b="0" i="0" u="none" strike="noStrike" dirty="0">
                <a:effectLst/>
                <a:latin typeface="Arial"/>
                <a:cs typeface="Arial"/>
              </a:rPr>
              <a:t>.</a:t>
            </a:r>
            <a:r>
              <a:rPr lang="nb-NO" sz="1400" dirty="0">
                <a:latin typeface="Arial"/>
                <a:cs typeface="Arial"/>
              </a:rPr>
              <a:t> Man får heller ikke fakturere tips.</a:t>
            </a:r>
            <a:endParaRPr lang="nb-NO" sz="1400" dirty="0">
              <a:latin typeface="Arial" panose="020B0604020202020204" pitchFamily="34" charset="0"/>
              <a:cs typeface="Arial"/>
            </a:endParaRPr>
          </a:p>
          <a:p>
            <a:pPr marL="845820" lvl="1" indent="-285750">
              <a:buFont typeface="Arial" panose="020B0604020202020204" pitchFamily="34" charset="0"/>
              <a:buChar char="•"/>
            </a:pPr>
            <a:r>
              <a:rPr lang="nb-NO" sz="1400" b="0" i="0" u="none" strike="noStrike" dirty="0">
                <a:effectLst/>
                <a:latin typeface="Arial"/>
                <a:cs typeface="Arial"/>
              </a:rPr>
              <a:t>… kommer ikke UiO til å dekke restaurantbesøket ved forsinket bestilling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dirty="0"/>
              <a:t>Nyttige lenker</a:t>
            </a:r>
            <a:endParaRPr lang="nb-NO" sz="1400">
              <a:cs typeface="Arial"/>
              <a:hlinkClick r:id="" action="ppaction://noaction"/>
            </a:endParaRPr>
          </a:p>
          <a:p>
            <a:pPr marL="845820" lvl="1" indent="-285750">
              <a:buFont typeface="Arial" panose="020B0604020202020204" pitchFamily="34" charset="0"/>
              <a:buChar char="•"/>
            </a:pPr>
            <a:r>
              <a:rPr lang="nb-NO" sz="1050" dirty="0">
                <a:solidFill>
                  <a:srgbClr val="0563C1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at og servering - For ansatte - Universitetet i Oslo (uio.no)</a:t>
            </a:r>
            <a:endParaRPr lang="nb-NO" sz="1050">
              <a:solidFill>
                <a:srgbClr val="0563C1"/>
              </a:solidFill>
              <a:cs typeface="Arial"/>
            </a:endParaRPr>
          </a:p>
          <a:p>
            <a:pPr marL="845820" lvl="1" indent="-285750">
              <a:buFont typeface="Arial" panose="020B0604020202020204" pitchFamily="34" charset="0"/>
              <a:buChar char="•"/>
            </a:pPr>
            <a:r>
              <a:rPr lang="nb-NO" sz="1050" dirty="0">
                <a:hlinkClick r:id="rId3"/>
              </a:rPr>
              <a:t>Retningslinjer for bevertning og representasjon ved UiO - Universitetet i Oslo</a:t>
            </a:r>
            <a:endParaRPr lang="nb-NO" sz="1050">
              <a:solidFill>
                <a:srgbClr val="0563C1"/>
              </a:solidFill>
              <a:cs typeface="Arial"/>
            </a:endParaRPr>
          </a:p>
          <a:p>
            <a:pPr marL="845820" lvl="1" indent="-285750">
              <a:buFont typeface="Arial" panose="020B0604020202020204" pitchFamily="34" charset="0"/>
              <a:buChar char="•"/>
            </a:pPr>
            <a:r>
              <a:rPr lang="nb-NO" sz="1050" dirty="0">
                <a:solidFill>
                  <a:srgbClr val="000000"/>
                </a:solidFill>
                <a:cs typeface="Arial"/>
                <a:hlinkClick r:id="rId4"/>
              </a:rPr>
              <a:t>Fakturaregler for UiO</a:t>
            </a:r>
            <a:endParaRPr lang="nb-NO" sz="1050" dirty="0">
              <a:solidFill>
                <a:srgbClr val="000000"/>
              </a:solidFill>
              <a:cs typeface="Arial"/>
            </a:endParaRPr>
          </a:p>
          <a:p>
            <a:pPr marL="845820" lvl="1" indent="-285750">
              <a:buFont typeface="Arial" panose="020B0604020202020204" pitchFamily="34" charset="0"/>
              <a:buChar char="•"/>
            </a:pPr>
            <a:endParaRPr lang="nb-NO" sz="1200">
              <a:solidFill>
                <a:srgbClr val="0563C1"/>
              </a:solidFill>
              <a:cs typeface="Arial"/>
            </a:endParaRPr>
          </a:p>
          <a:p>
            <a:pPr marL="845820" lvl="1" indent="-285750">
              <a:buFont typeface="Arial" panose="020B0604020202020204" pitchFamily="34" charset="0"/>
              <a:buChar char="•"/>
            </a:pPr>
            <a:endParaRPr lang="nb-NO" sz="1200">
              <a:cs typeface="Arial"/>
            </a:endParaRPr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6A19A997-A885-4A4D-9745-BC9C3A81E20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A3CBDFC2-10C4-46CC-88C0-C6FF904EDE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5" name="Tittel 4">
            <a:extLst>
              <a:ext uri="{FF2B5EF4-FFF2-40B4-BE49-F238E27FC236}">
                <a16:creationId xmlns:a16="http://schemas.microsoft.com/office/drawing/2014/main" id="{9E3D224A-499D-4A80-96C7-8E1C8B3C86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z="3200"/>
              <a:t>2. Rutiner for bestilling av bevertning og restaurantbesøk, fort.</a:t>
            </a:r>
          </a:p>
        </p:txBody>
      </p:sp>
      <p:graphicFrame>
        <p:nvGraphicFramePr>
          <p:cNvPr id="7" name="Objekt 6" descr="Eksempel på arrangementsprogram">
            <a:extLst>
              <a:ext uri="{FF2B5EF4-FFF2-40B4-BE49-F238E27FC236}">
                <a16:creationId xmlns:a16="http://schemas.microsoft.com/office/drawing/2014/main" id="{B561EECC-216F-40B4-AB83-DD283FA3264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2900978"/>
              </p:ext>
            </p:extLst>
          </p:nvPr>
        </p:nvGraphicFramePr>
        <p:xfrm>
          <a:off x="7780338" y="3619500"/>
          <a:ext cx="1963737" cy="30622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ocument" r:id="rId5" imgW="5743593" imgH="8959797" progId="Word.Document.12">
                  <p:embed/>
                </p:oleObj>
              </mc:Choice>
              <mc:Fallback>
                <p:oleObj name="Document" r:id="rId5" imgW="5743593" imgH="8959797" progId="Word.Document.12">
                  <p:embed/>
                  <p:pic>
                    <p:nvPicPr>
                      <p:cNvPr id="7" name="Objekt 6" descr="Eksempel på arrangementsprogram">
                        <a:extLst>
                          <a:ext uri="{FF2B5EF4-FFF2-40B4-BE49-F238E27FC236}">
                            <a16:creationId xmlns:a16="http://schemas.microsoft.com/office/drawing/2014/main" id="{B561EECC-216F-40B4-AB83-DD283FA326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7780338" y="3619500"/>
                        <a:ext cx="1963737" cy="30622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Objekt 7" descr="Eksempel på deltakerliste">
            <a:extLst>
              <a:ext uri="{FF2B5EF4-FFF2-40B4-BE49-F238E27FC236}">
                <a16:creationId xmlns:a16="http://schemas.microsoft.com/office/drawing/2014/main" id="{41D1C76F-8F1E-4767-BB18-F73C0FCDB5E9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620871473"/>
              </p:ext>
            </p:extLst>
          </p:nvPr>
        </p:nvGraphicFramePr>
        <p:xfrm>
          <a:off x="7362740" y="1154478"/>
          <a:ext cx="3454360" cy="2336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ocument" r:id="rId7" imgW="8601915" imgH="5819584" progId="Word.Document.12">
                  <p:embed/>
                </p:oleObj>
              </mc:Choice>
              <mc:Fallback>
                <p:oleObj name="Document" r:id="rId7" imgW="8601915" imgH="5819584" progId="Word.Document.12">
                  <p:embed/>
                  <p:pic>
                    <p:nvPicPr>
                      <p:cNvPr id="8" name="Objekt 7" descr="Eksempel på deltakerliste">
                        <a:extLst>
                          <a:ext uri="{FF2B5EF4-FFF2-40B4-BE49-F238E27FC236}">
                            <a16:creationId xmlns:a16="http://schemas.microsoft.com/office/drawing/2014/main" id="{41D1C76F-8F1E-4767-BB18-F73C0FCDB5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7362740" y="1154478"/>
                        <a:ext cx="3454360" cy="233690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kstSylinder 8">
            <a:extLst>
              <a:ext uri="{FF2B5EF4-FFF2-40B4-BE49-F238E27FC236}">
                <a16:creationId xmlns:a16="http://schemas.microsoft.com/office/drawing/2014/main" id="{2D5A7E9A-3C48-452C-87E0-0B4A8B26F0B9}"/>
              </a:ext>
            </a:extLst>
          </p:cNvPr>
          <p:cNvSpPr txBox="1"/>
          <p:nvPr/>
        </p:nvSpPr>
        <p:spPr>
          <a:xfrm>
            <a:off x="7749039" y="902703"/>
            <a:ext cx="149912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/>
              <a:t>Eksempel på deltakerliste</a:t>
            </a:r>
          </a:p>
        </p:txBody>
      </p:sp>
      <p:sp>
        <p:nvSpPr>
          <p:cNvPr id="10" name="TekstSylinder 9">
            <a:extLst>
              <a:ext uri="{FF2B5EF4-FFF2-40B4-BE49-F238E27FC236}">
                <a16:creationId xmlns:a16="http://schemas.microsoft.com/office/drawing/2014/main" id="{1EE12C7C-A0D8-4022-88DF-2F0A373F2D31}"/>
              </a:ext>
            </a:extLst>
          </p:cNvPr>
          <p:cNvSpPr txBox="1"/>
          <p:nvPr/>
        </p:nvSpPr>
        <p:spPr>
          <a:xfrm>
            <a:off x="7749039" y="3387562"/>
            <a:ext cx="2024913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/>
              <a:t>Eksempel på arrangementsprogram</a:t>
            </a:r>
          </a:p>
        </p:txBody>
      </p:sp>
    </p:spTree>
    <p:extLst>
      <p:ext uri="{BB962C8B-B14F-4D97-AF65-F5344CB8AC3E}">
        <p14:creationId xmlns:p14="http://schemas.microsoft.com/office/powerpoint/2010/main" val="87403245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6E612647-9BB1-0F6D-5DC6-D729B8E04FA6}"/>
              </a:ext>
            </a:extLst>
          </p:cNvPr>
          <p:cNvSpPr txBox="1"/>
          <p:nvPr/>
        </p:nvSpPr>
        <p:spPr>
          <a:xfrm>
            <a:off x="3048000" y="1028343"/>
            <a:ext cx="6096000" cy="424731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 err="1"/>
              <a:t>Regler</a:t>
            </a:r>
            <a:r>
              <a:rPr lang="en-US" b="1" dirty="0"/>
              <a:t> </a:t>
            </a:r>
            <a:r>
              <a:rPr lang="en-US" b="1" dirty="0" err="1"/>
              <a:t>og</a:t>
            </a:r>
            <a:r>
              <a:rPr lang="en-US" b="1" dirty="0"/>
              <a:t> </a:t>
            </a:r>
            <a:r>
              <a:rPr lang="en-US" b="1" dirty="0" err="1"/>
              <a:t>satser</a:t>
            </a:r>
            <a:r>
              <a:rPr lang="en-US" b="1" dirty="0"/>
              <a:t>.  </a:t>
            </a:r>
          </a:p>
          <a:p>
            <a:endParaRPr lang="en-US" dirty="0"/>
          </a:p>
          <a:p>
            <a:r>
              <a:rPr lang="en-US" dirty="0"/>
              <a:t> </a:t>
            </a:r>
          </a:p>
          <a:p>
            <a:r>
              <a:rPr lang="en-US" b="0" i="0" dirty="0" err="1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Som</a:t>
            </a:r>
            <a:r>
              <a:rPr lang="en-US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hovedregel</a:t>
            </a:r>
            <a:r>
              <a:rPr lang="en-US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skal</a:t>
            </a:r>
            <a:r>
              <a:rPr lang="en-US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bevertning</a:t>
            </a:r>
            <a:r>
              <a:rPr lang="en-US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ikke</a:t>
            </a:r>
            <a:r>
              <a:rPr lang="en-US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benyttes</a:t>
            </a:r>
            <a:r>
              <a:rPr lang="en-US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til</a:t>
            </a:r>
            <a:r>
              <a:rPr lang="en-US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 interne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møter</a:t>
            </a:r>
            <a:r>
              <a:rPr lang="en-US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 med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mindre</a:t>
            </a:r>
            <a:r>
              <a:rPr lang="en-US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 det er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ekstern</a:t>
            </a:r>
            <a:r>
              <a:rPr lang="en-US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deltakelse</a:t>
            </a:r>
            <a:r>
              <a:rPr lang="en-US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.</a:t>
            </a:r>
          </a:p>
          <a:p>
            <a:endParaRPr lang="en-US" dirty="0"/>
          </a:p>
          <a:p>
            <a:r>
              <a:rPr lang="en-US" dirty="0" err="1"/>
              <a:t>Som</a:t>
            </a:r>
            <a:r>
              <a:rPr lang="en-US" dirty="0"/>
              <a:t> </a:t>
            </a:r>
            <a:r>
              <a:rPr lang="en-US" dirty="0" err="1"/>
              <a:t>hovedregel</a:t>
            </a:r>
            <a:r>
              <a:rPr lang="en-US" dirty="0"/>
              <a:t> </a:t>
            </a:r>
            <a:r>
              <a:rPr lang="en-US" dirty="0" err="1"/>
              <a:t>skal</a:t>
            </a:r>
            <a:r>
              <a:rPr lang="en-US" dirty="0"/>
              <a:t> </a:t>
            </a:r>
            <a:r>
              <a:rPr lang="en-US" dirty="0" err="1"/>
              <a:t>arrangementer</a:t>
            </a:r>
            <a:r>
              <a:rPr lang="en-US" dirty="0"/>
              <a:t> </a:t>
            </a:r>
            <a:r>
              <a:rPr lang="en-US" dirty="0" err="1"/>
              <a:t>avholdes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UIOs </a:t>
            </a:r>
            <a:r>
              <a:rPr lang="en-US" dirty="0" err="1"/>
              <a:t>lokaler</a:t>
            </a:r>
            <a:r>
              <a:rPr lang="en-US" dirty="0"/>
              <a:t>, men av </a:t>
            </a:r>
            <a:r>
              <a:rPr lang="en-US" dirty="0" err="1"/>
              <a:t>praktiske</a:t>
            </a:r>
            <a:r>
              <a:rPr lang="en-US" dirty="0"/>
              <a:t> </a:t>
            </a:r>
            <a:r>
              <a:rPr lang="en-US" dirty="0" err="1"/>
              <a:t>hensyn</a:t>
            </a:r>
            <a:r>
              <a:rPr lang="en-US" dirty="0"/>
              <a:t> </a:t>
            </a:r>
            <a:r>
              <a:rPr lang="en-US" dirty="0" err="1"/>
              <a:t>inntas</a:t>
            </a:r>
            <a:r>
              <a:rPr lang="en-US" dirty="0"/>
              <a:t> </a:t>
            </a:r>
            <a:r>
              <a:rPr lang="en-US" dirty="0" err="1"/>
              <a:t>middag</a:t>
            </a:r>
            <a:r>
              <a:rPr lang="en-US" dirty="0"/>
              <a:t> </a:t>
            </a:r>
            <a:r>
              <a:rPr lang="en-US" dirty="0" err="1"/>
              <a:t>på</a:t>
            </a:r>
            <a:r>
              <a:rPr lang="en-US" dirty="0"/>
              <a:t> restaurant. </a:t>
            </a:r>
          </a:p>
          <a:p>
            <a:endParaRPr lang="en-US" dirty="0"/>
          </a:p>
          <a:p>
            <a:r>
              <a:rPr lang="en-US" dirty="0" err="1"/>
              <a:t>På</a:t>
            </a:r>
            <a:r>
              <a:rPr lang="en-US" dirty="0"/>
              <a:t> HF er det </a:t>
            </a:r>
            <a:r>
              <a:rPr lang="en-US" dirty="0" err="1"/>
              <a:t>besluttet</a:t>
            </a:r>
            <a:r>
              <a:rPr lang="en-US" dirty="0"/>
              <a:t> at </a:t>
            </a:r>
            <a:r>
              <a:rPr lang="en-US" dirty="0" err="1"/>
              <a:t>bevertning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private </a:t>
            </a:r>
            <a:r>
              <a:rPr lang="en-US" dirty="0" err="1"/>
              <a:t>hjem</a:t>
            </a:r>
            <a:r>
              <a:rPr lang="en-US" dirty="0"/>
              <a:t> </a:t>
            </a:r>
            <a:r>
              <a:rPr lang="en-US" dirty="0" err="1"/>
              <a:t>ikke</a:t>
            </a:r>
            <a:r>
              <a:rPr lang="en-US" dirty="0"/>
              <a:t> </a:t>
            </a:r>
            <a:r>
              <a:rPr lang="en-US" dirty="0" err="1"/>
              <a:t>tillattes</a:t>
            </a:r>
            <a:r>
              <a:rPr lang="en-US" dirty="0"/>
              <a:t>. </a:t>
            </a:r>
          </a:p>
          <a:p>
            <a:endParaRPr lang="en-US" dirty="0"/>
          </a:p>
          <a:p>
            <a:r>
              <a:rPr lang="en-US" dirty="0" err="1"/>
              <a:t>Ledelsen</a:t>
            </a:r>
            <a:r>
              <a:rPr lang="en-US" dirty="0"/>
              <a:t> </a:t>
            </a:r>
            <a:r>
              <a:rPr lang="en-US" dirty="0" err="1"/>
              <a:t>ved</a:t>
            </a:r>
            <a:r>
              <a:rPr lang="en-US" dirty="0"/>
              <a:t> IKOS </a:t>
            </a:r>
            <a:r>
              <a:rPr lang="en-US" dirty="0" err="1"/>
              <a:t>har</a:t>
            </a:r>
            <a:r>
              <a:rPr lang="en-US" dirty="0"/>
              <a:t> </a:t>
            </a:r>
            <a:r>
              <a:rPr lang="en-US" dirty="0" err="1"/>
              <a:t>besluttet</a:t>
            </a:r>
            <a:r>
              <a:rPr lang="en-US" dirty="0"/>
              <a:t> at vi </a:t>
            </a:r>
            <a:r>
              <a:rPr lang="en-US" dirty="0" err="1"/>
              <a:t>kun</a:t>
            </a:r>
            <a:r>
              <a:rPr lang="en-US" dirty="0"/>
              <a:t> </a:t>
            </a:r>
            <a:r>
              <a:rPr lang="en-US" dirty="0" err="1"/>
              <a:t>serverer</a:t>
            </a:r>
            <a:r>
              <a:rPr lang="en-US" dirty="0"/>
              <a:t> </a:t>
            </a:r>
            <a:r>
              <a:rPr lang="en-US" dirty="0" err="1"/>
              <a:t>enkel</a:t>
            </a:r>
            <a:r>
              <a:rPr lang="en-US" dirty="0"/>
              <a:t> </a:t>
            </a:r>
            <a:r>
              <a:rPr lang="en-US" dirty="0" err="1"/>
              <a:t>møtemat</a:t>
            </a:r>
            <a:r>
              <a:rPr lang="en-US" dirty="0"/>
              <a:t> </a:t>
            </a:r>
            <a:r>
              <a:rPr lang="en-US" dirty="0" err="1"/>
              <a:t>ved</a:t>
            </a:r>
            <a:r>
              <a:rPr lang="en-US" dirty="0"/>
              <a:t> </a:t>
            </a:r>
            <a:r>
              <a:rPr lang="en-US" dirty="0" err="1"/>
              <a:t>bevertning</a:t>
            </a:r>
            <a:r>
              <a:rPr lang="en-US" dirty="0"/>
              <a:t>. (</a:t>
            </a:r>
            <a:r>
              <a:rPr lang="en-US" dirty="0" err="1"/>
              <a:t>eks</a:t>
            </a:r>
            <a:r>
              <a:rPr lang="en-US" dirty="0"/>
              <a:t>. </a:t>
            </a:r>
            <a:r>
              <a:rPr lang="en-US" dirty="0" err="1"/>
              <a:t>på</a:t>
            </a:r>
            <a:r>
              <a:rPr lang="en-US" dirty="0"/>
              <a:t> </a:t>
            </a:r>
            <a:r>
              <a:rPr lang="en-US" dirty="0" err="1"/>
              <a:t>enkel</a:t>
            </a:r>
            <a:r>
              <a:rPr lang="en-US" dirty="0"/>
              <a:t> </a:t>
            </a:r>
            <a:r>
              <a:rPr lang="en-US" dirty="0" err="1"/>
              <a:t>lunsjservering</a:t>
            </a:r>
            <a:r>
              <a:rPr lang="en-US" dirty="0"/>
              <a:t> er </a:t>
            </a:r>
            <a:r>
              <a:rPr lang="en-US" dirty="0" err="1"/>
              <a:t>baguetter</a:t>
            </a:r>
            <a:r>
              <a:rPr lang="en-US" dirty="0"/>
              <a:t>/wraps/</a:t>
            </a:r>
            <a:r>
              <a:rPr lang="en-US" dirty="0" err="1"/>
              <a:t>rundstykker</a:t>
            </a:r>
            <a:r>
              <a:rPr lang="en-US" dirty="0"/>
              <a:t>, </a:t>
            </a:r>
            <a:r>
              <a:rPr lang="en-US" dirty="0" err="1"/>
              <a:t>mineralvann</a:t>
            </a:r>
            <a:r>
              <a:rPr lang="en-US" dirty="0"/>
              <a:t> </a:t>
            </a:r>
            <a:r>
              <a:rPr lang="en-US" dirty="0" err="1"/>
              <a:t>og</a:t>
            </a:r>
            <a:r>
              <a:rPr lang="en-US" dirty="0"/>
              <a:t> </a:t>
            </a:r>
            <a:r>
              <a:rPr lang="en-US" dirty="0" err="1"/>
              <a:t>kaffe</a:t>
            </a:r>
            <a:r>
              <a:rPr lang="en-US" dirty="0"/>
              <a:t>)  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642411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5EF137-AAE9-4B07-98BC-4D490F486B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err="1"/>
              <a:t>Satser</a:t>
            </a:r>
            <a:endParaRPr lang="nb-NO" dirty="0"/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4A93D638-65CF-4442-8D82-3F7E08865B12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3286846" y="1825625"/>
          <a:ext cx="5618307" cy="4351339"/>
        </p:xfrm>
        <a:graphic>
          <a:graphicData uri="http://schemas.openxmlformats.org/drawingml/2006/table">
            <a:tbl>
              <a:tblPr/>
              <a:tblGrid>
                <a:gridCol w="1872769">
                  <a:extLst>
                    <a:ext uri="{9D8B030D-6E8A-4147-A177-3AD203B41FA5}">
                      <a16:colId xmlns:a16="http://schemas.microsoft.com/office/drawing/2014/main" val="722888466"/>
                    </a:ext>
                  </a:extLst>
                </a:gridCol>
                <a:gridCol w="1872769">
                  <a:extLst>
                    <a:ext uri="{9D8B030D-6E8A-4147-A177-3AD203B41FA5}">
                      <a16:colId xmlns:a16="http://schemas.microsoft.com/office/drawing/2014/main" val="3437457486"/>
                    </a:ext>
                  </a:extLst>
                </a:gridCol>
                <a:gridCol w="1872769">
                  <a:extLst>
                    <a:ext uri="{9D8B030D-6E8A-4147-A177-3AD203B41FA5}">
                      <a16:colId xmlns:a16="http://schemas.microsoft.com/office/drawing/2014/main" val="3178209759"/>
                    </a:ext>
                  </a:extLst>
                </a:gridCol>
              </a:tblGrid>
              <a:tr h="729566">
                <a:tc>
                  <a:txBody>
                    <a:bodyPr/>
                    <a:lstStyle/>
                    <a:p>
                      <a:pPr algn="l" fontAlgn="t"/>
                      <a:r>
                        <a:rPr lang="nb-NO" sz="1500">
                          <a:solidFill>
                            <a:srgbClr val="000000"/>
                          </a:solidFill>
                          <a:effectLst/>
                        </a:rPr>
                        <a:t>Arrangementer</a:t>
                      </a:r>
                    </a:p>
                  </a:txBody>
                  <a:tcPr marL="162849" marR="162849" marT="130280" marB="13028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nb-NO" sz="1500">
                          <a:solidFill>
                            <a:srgbClr val="000000"/>
                          </a:solidFill>
                          <a:effectLst/>
                          <a:hlinkClick r:id="rId2"/>
                        </a:rPr>
                        <a:t>Bevertning i</a:t>
                      </a:r>
                      <a:br>
                        <a:rPr lang="nb-NO" sz="1500">
                          <a:solidFill>
                            <a:srgbClr val="000000"/>
                          </a:solidFill>
                          <a:effectLst/>
                          <a:hlinkClick r:id="rId2"/>
                        </a:rPr>
                      </a:br>
                      <a:r>
                        <a:rPr lang="nb-NO" sz="1500">
                          <a:solidFill>
                            <a:srgbClr val="000000"/>
                          </a:solidFill>
                          <a:effectLst/>
                          <a:hlinkClick r:id="rId2"/>
                        </a:rPr>
                        <a:t>UiOs lokaler</a:t>
                      </a:r>
                      <a:endParaRPr lang="nb-NO" sz="150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162849" marR="162849" marT="130280" marB="13028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nb-NO" sz="1500">
                          <a:solidFill>
                            <a:srgbClr val="000000"/>
                          </a:solidFill>
                          <a:effectLst/>
                          <a:hlinkClick r:id="rId3"/>
                        </a:rPr>
                        <a:t>Bevertning utenfor</a:t>
                      </a:r>
                      <a:br>
                        <a:rPr lang="nb-NO" sz="1500">
                          <a:solidFill>
                            <a:srgbClr val="000000"/>
                          </a:solidFill>
                          <a:effectLst/>
                          <a:hlinkClick r:id="rId3"/>
                        </a:rPr>
                      </a:br>
                      <a:r>
                        <a:rPr lang="nb-NO" sz="1500">
                          <a:solidFill>
                            <a:srgbClr val="000000"/>
                          </a:solidFill>
                          <a:effectLst/>
                          <a:hlinkClick r:id="rId3"/>
                        </a:rPr>
                        <a:t>UiOs lokaler</a:t>
                      </a:r>
                      <a:endParaRPr lang="nb-NO" sz="150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162849" marR="162849" marT="130280" marB="13028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05201132"/>
                  </a:ext>
                </a:extLst>
              </a:tr>
              <a:tr h="729566">
                <a:tc>
                  <a:txBody>
                    <a:bodyPr/>
                    <a:lstStyle/>
                    <a:p>
                      <a:pPr algn="l" fontAlgn="t"/>
                      <a:r>
                        <a:rPr lang="nb-NO" sz="1500">
                          <a:effectLst/>
                        </a:rPr>
                        <a:t>≤ 3 timer i arbeidstiden</a:t>
                      </a:r>
                    </a:p>
                  </a:txBody>
                  <a:tcPr marL="162849" marR="162849" marT="130280" marB="13028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nb-NO" sz="1500">
                          <a:effectLst/>
                        </a:rPr>
                        <a:t>Kaffe/kr 197*</a:t>
                      </a:r>
                    </a:p>
                  </a:txBody>
                  <a:tcPr marL="162849" marR="162849" marT="130280" marB="13028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nb-NO" sz="1500">
                          <a:effectLst/>
                        </a:rPr>
                        <a:t>kr 296</a:t>
                      </a:r>
                    </a:p>
                  </a:txBody>
                  <a:tcPr marL="162849" marR="162849" marT="130280" marB="13028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3178835"/>
                  </a:ext>
                </a:extLst>
              </a:tr>
              <a:tr h="1198572">
                <a:tc>
                  <a:txBody>
                    <a:bodyPr/>
                    <a:lstStyle/>
                    <a:p>
                      <a:pPr algn="l" fontAlgn="t"/>
                      <a:r>
                        <a:rPr lang="nb-NO" sz="1500">
                          <a:effectLst/>
                        </a:rPr>
                        <a:t>&gt; 3 timer i arbeidstiden</a:t>
                      </a:r>
                      <a:br>
                        <a:rPr lang="nb-NO" sz="1500">
                          <a:effectLst/>
                        </a:rPr>
                      </a:br>
                      <a:r>
                        <a:rPr lang="nb-NO" sz="1500">
                          <a:effectLst/>
                        </a:rPr>
                        <a:t>og går inn i lunsjtiden</a:t>
                      </a:r>
                    </a:p>
                  </a:txBody>
                  <a:tcPr marL="162849" marR="162849" marT="130280" marB="13028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nb-NO" sz="1500">
                          <a:effectLst/>
                        </a:rPr>
                        <a:t>kr 197</a:t>
                      </a:r>
                    </a:p>
                  </a:txBody>
                  <a:tcPr marL="162849" marR="162849" marT="130280" marB="13028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nb-NO" sz="1500">
                          <a:effectLst/>
                        </a:rPr>
                        <a:t>kr 296</a:t>
                      </a:r>
                    </a:p>
                  </a:txBody>
                  <a:tcPr marL="162849" marR="162849" marT="130280" marB="13028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02686756"/>
                  </a:ext>
                </a:extLst>
              </a:tr>
              <a:tr h="729566">
                <a:tc>
                  <a:txBody>
                    <a:bodyPr/>
                    <a:lstStyle/>
                    <a:p>
                      <a:pPr algn="l" fontAlgn="t"/>
                      <a:r>
                        <a:rPr lang="nb-NO" sz="1500">
                          <a:effectLst/>
                        </a:rPr>
                        <a:t>&gt; 3 timer utover arbeidstiden</a:t>
                      </a:r>
                    </a:p>
                  </a:txBody>
                  <a:tcPr marL="162849" marR="162849" marT="130280" marB="13028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nb-NO" sz="1500">
                          <a:effectLst/>
                        </a:rPr>
                        <a:t>kr 446</a:t>
                      </a:r>
                    </a:p>
                  </a:txBody>
                  <a:tcPr marL="162849" marR="162849" marT="130280" marB="13028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nb-NO" sz="1500">
                          <a:effectLst/>
                        </a:rPr>
                        <a:t>kr 669</a:t>
                      </a:r>
                    </a:p>
                  </a:txBody>
                  <a:tcPr marL="162849" marR="162849" marT="130280" marB="13028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58704093"/>
                  </a:ext>
                </a:extLst>
              </a:tr>
              <a:tr h="964069">
                <a:tc>
                  <a:txBody>
                    <a:bodyPr/>
                    <a:lstStyle/>
                    <a:p>
                      <a:pPr algn="l" fontAlgn="t"/>
                      <a:r>
                        <a:rPr lang="nb-NO" sz="1500">
                          <a:effectLst/>
                        </a:rPr>
                        <a:t>Langvarig og nødvendig med to serveringer</a:t>
                      </a:r>
                    </a:p>
                  </a:txBody>
                  <a:tcPr marL="162849" marR="162849" marT="130280" marB="13028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nb-NO" sz="1500">
                          <a:effectLst/>
                        </a:rPr>
                        <a:t>kr 652</a:t>
                      </a:r>
                    </a:p>
                  </a:txBody>
                  <a:tcPr marL="162849" marR="162849" marT="130280" marB="13028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nb-NO" sz="1500" dirty="0">
                          <a:effectLst/>
                        </a:rPr>
                        <a:t>kr 979</a:t>
                      </a:r>
                    </a:p>
                  </a:txBody>
                  <a:tcPr marL="162849" marR="162849" marT="130280" marB="13028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491732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7597809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AC5F5A-4E3C-4308-A973-BB89A4487C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kumimoji="0" lang="nb-NO" sz="4400" b="0" i="0" u="none" strike="noStrike" kern="1200" cap="none" spc="0" normalizeH="0" baseline="0" noProof="0" dirty="0">
                <a:ln>
                  <a:noFill/>
                </a:ln>
                <a:solidFill>
                  <a:srgbClr val="2F5496"/>
                </a:solidFill>
                <a:effectLst/>
                <a:uLnTx/>
                <a:uFillTx/>
                <a:latin typeface="Calibri Light" panose="020F0302020204030204" pitchFamily="34" charset="0"/>
                <a:ea typeface="+mj-ea"/>
                <a:cs typeface="+mj-cs"/>
              </a:rPr>
              <a:t>Hvordan beverte?</a:t>
            </a:r>
            <a:endParaRPr lang="nb-NO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71ED37A-496A-4147-892C-D17B614AAE1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I </a:t>
            </a:r>
            <a:r>
              <a:rPr lang="en-US" dirty="0" err="1"/>
              <a:t>utgangspunktet</a:t>
            </a:r>
            <a:r>
              <a:rPr lang="en-US" dirty="0"/>
              <a:t> 4 </a:t>
            </a:r>
            <a:r>
              <a:rPr lang="en-US" dirty="0" err="1"/>
              <a:t>varianter</a:t>
            </a:r>
            <a:r>
              <a:rPr lang="en-US" dirty="0"/>
              <a:t> av </a:t>
            </a:r>
            <a:r>
              <a:rPr lang="en-US" dirty="0" err="1"/>
              <a:t>bevertning</a:t>
            </a:r>
            <a:r>
              <a:rPr lang="en-US" dirty="0"/>
              <a:t>.</a:t>
            </a:r>
          </a:p>
          <a:p>
            <a:r>
              <a:rPr lang="en-US" dirty="0" err="1"/>
              <a:t>Enkel</a:t>
            </a:r>
            <a:r>
              <a:rPr lang="en-US" dirty="0"/>
              <a:t> </a:t>
            </a:r>
            <a:r>
              <a:rPr lang="en-US" dirty="0" err="1"/>
              <a:t>servering</a:t>
            </a:r>
            <a:r>
              <a:rPr lang="en-US" dirty="0"/>
              <a:t> (</a:t>
            </a:r>
            <a:r>
              <a:rPr lang="en-US" dirty="0" err="1"/>
              <a:t>boller</a:t>
            </a:r>
            <a:r>
              <a:rPr lang="en-US" dirty="0"/>
              <a:t> </a:t>
            </a:r>
            <a:r>
              <a:rPr lang="en-US" dirty="0" err="1"/>
              <a:t>og</a:t>
            </a:r>
            <a:r>
              <a:rPr lang="en-US" dirty="0"/>
              <a:t> </a:t>
            </a:r>
            <a:r>
              <a:rPr lang="en-US" dirty="0" err="1"/>
              <a:t>kaffe</a:t>
            </a:r>
            <a:r>
              <a:rPr lang="en-US" dirty="0"/>
              <a:t>) </a:t>
            </a:r>
          </a:p>
          <a:p>
            <a:r>
              <a:rPr lang="en-US" dirty="0" err="1"/>
              <a:t>Enkel</a:t>
            </a:r>
            <a:r>
              <a:rPr lang="en-US" dirty="0"/>
              <a:t> </a:t>
            </a:r>
            <a:r>
              <a:rPr lang="en-US" dirty="0" err="1"/>
              <a:t>Lunsj</a:t>
            </a:r>
            <a:r>
              <a:rPr lang="en-US" dirty="0"/>
              <a:t>. </a:t>
            </a:r>
          </a:p>
          <a:p>
            <a:r>
              <a:rPr lang="en-US" dirty="0"/>
              <a:t>Middag. </a:t>
            </a:r>
          </a:p>
          <a:p>
            <a:r>
              <a:rPr lang="en-US" dirty="0" err="1"/>
              <a:t>Lunsj</a:t>
            </a:r>
            <a:r>
              <a:rPr lang="en-US" dirty="0"/>
              <a:t> </a:t>
            </a:r>
            <a:r>
              <a:rPr lang="en-US" dirty="0" err="1"/>
              <a:t>og</a:t>
            </a:r>
            <a:r>
              <a:rPr lang="en-US" dirty="0"/>
              <a:t> </a:t>
            </a:r>
            <a:r>
              <a:rPr lang="en-US" dirty="0" err="1"/>
              <a:t>middag</a:t>
            </a:r>
            <a:r>
              <a:rPr lang="en-US" dirty="0"/>
              <a:t>. 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4880685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ma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B6666"/>
      </a:accent1>
      <a:accent2>
        <a:srgbClr val="FFFEA7"/>
      </a:accent2>
      <a:accent3>
        <a:srgbClr val="86A4F7"/>
      </a:accent3>
      <a:accent4>
        <a:srgbClr val="E6ECFF"/>
      </a:accent4>
      <a:accent5>
        <a:srgbClr val="FEA11B"/>
      </a:accent5>
      <a:accent6>
        <a:srgbClr val="3E31D6"/>
      </a:accent6>
      <a:hlink>
        <a:srgbClr val="0563C1"/>
      </a:hlink>
      <a:folHlink>
        <a:srgbClr val="954F72"/>
      </a:folHlink>
    </a:clrScheme>
    <a:fontScheme name="Custom 1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iO_PPT_NO.potx" id="{4A3461D5-36ED-4665-B3FE-2BAD1DA8EADD}" vid="{585C287C-E974-4785-BD2C-7F401461D4EB}"/>
    </a:ext>
  </a:extLst>
</a:theme>
</file>

<file path=ppt/theme/theme2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CD92D25D0A6CD24BA433C8F5496EA190" ma:contentTypeVersion="6" ma:contentTypeDescription="Opprett et nytt dokument." ma:contentTypeScope="" ma:versionID="6fb092af856c04946bad4fd47020d91a">
  <xsd:schema xmlns:xsd="http://www.w3.org/2001/XMLSchema" xmlns:xs="http://www.w3.org/2001/XMLSchema" xmlns:p="http://schemas.microsoft.com/office/2006/metadata/properties" xmlns:ns2="3cf74153-8a6f-4248-8e69-84a655c6bfdb" xmlns:ns3="bf2df857-6eed-48ad-9506-cc8db89dc7b0" targetNamespace="http://schemas.microsoft.com/office/2006/metadata/properties" ma:root="true" ma:fieldsID="3f3e3745c56ea32bab3b811f42688b7f" ns2:_="" ns3:_="">
    <xsd:import namespace="3cf74153-8a6f-4248-8e69-84a655c6bfdb"/>
    <xsd:import namespace="bf2df857-6eed-48ad-9506-cc8db89dc7b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cf74153-8a6f-4248-8e69-84a655c6bfd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f2df857-6eed-48ad-9506-cc8db89dc7b0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Del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Delingsdetaljer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9B9CF10-6C6A-444C-B05E-E78C1785A52C}">
  <ds:schemaRefs>
    <ds:schemaRef ds:uri="bf2df857-6eed-48ad-9506-cc8db89dc7b0"/>
    <ds:schemaRef ds:uri="http://schemas.microsoft.com/office/2006/documentManagement/types"/>
    <ds:schemaRef ds:uri="http://schemas.microsoft.com/office/2006/metadata/properties"/>
    <ds:schemaRef ds:uri="3cf74153-8a6f-4248-8e69-84a655c6bfdb"/>
    <ds:schemaRef ds:uri="http://schemas.microsoft.com/office/infopath/2007/PartnerControls"/>
    <ds:schemaRef ds:uri="http://purl.org/dc/elements/1.1/"/>
    <ds:schemaRef ds:uri="http://schemas.openxmlformats.org/package/2006/metadata/core-properties"/>
    <ds:schemaRef ds:uri="http://purl.org/dc/terms/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FB593ABB-BED1-4DD6-B7CE-5DB7CBF4519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cf74153-8a6f-4248-8e69-84a655c6bfdb"/>
    <ds:schemaRef ds:uri="bf2df857-6eed-48ad-9506-cc8db89dc7b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684213E5-2D10-47A0-9EC6-16DB2B77A2C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UiO Norsk</Template>
  <TotalTime>434</TotalTime>
  <Words>2151</Words>
  <Application>Microsoft Office PowerPoint</Application>
  <PresentationFormat>Widescreen</PresentationFormat>
  <Paragraphs>165</Paragraphs>
  <Slides>23</Slides>
  <Notes>0</Notes>
  <HiddenSlides>0</HiddenSlides>
  <MMClips>0</MMClip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23</vt:i4>
      </vt:variant>
    </vt:vector>
  </HeadingPairs>
  <TitlesOfParts>
    <vt:vector size="25" baseType="lpstr">
      <vt:lpstr>Office-tema</vt:lpstr>
      <vt:lpstr>Office Theme</vt:lpstr>
      <vt:lpstr>Gjennomgang av rutiner for vitenskapelige assistenter</vt:lpstr>
      <vt:lpstr>Innhold </vt:lpstr>
      <vt:lpstr>1. Ny som vit.ass.? Dette må du vite… </vt:lpstr>
      <vt:lpstr>2. Rutiner for bestilling av bevertning og restaurantbesøk</vt:lpstr>
      <vt:lpstr>2. Rutiner for bestilling av bevertning og restaurantbesøk, fort.</vt:lpstr>
      <vt:lpstr>2. Rutiner for bestilling av bevertning og restaurantbesøk, fort.</vt:lpstr>
      <vt:lpstr>PowerPoint Presentation</vt:lpstr>
      <vt:lpstr>Satser</vt:lpstr>
      <vt:lpstr>Hvordan beverte?</vt:lpstr>
      <vt:lpstr>Enkel servering ved åpne arrangementer. Under 3 timer i arbeidstiden:  </vt:lpstr>
      <vt:lpstr>Mer enn 3 timer i arbeidstiden og går inn i lunsjtiden. Lunsjservering </vt:lpstr>
      <vt:lpstr>Mer enn 3 timer og utover arbeidstiden. Middagsservering.  </vt:lpstr>
      <vt:lpstr>Langvarig og nødvendig med to serveringer. Lunsj og middag.  </vt:lpstr>
      <vt:lpstr>Konferansehoteller</vt:lpstr>
      <vt:lpstr>PowerPoint Presentation</vt:lpstr>
      <vt:lpstr>3. Rutiner for bestilling av reiser</vt:lpstr>
      <vt:lpstr>4. Rutiner for refusjon og honorar </vt:lpstr>
      <vt:lpstr>5. Rutiner for bestilling av oppdragskontrakter </vt:lpstr>
      <vt:lpstr>6. Rutiner for bestilling av plakater, bannere og rom  </vt:lpstr>
      <vt:lpstr>6. Rutiner for bestilling av plakater, bannere og rom, fort.</vt:lpstr>
      <vt:lpstr>7. Rutiner for kommunikasjon og nettsider</vt:lpstr>
      <vt:lpstr>8. Rutiner for GDPR og media</vt:lpstr>
      <vt:lpstr>Spørsmål?  Send mail til tarjeibr@ikos.uio.no eller stikk innom rom 478.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jennomgang av rutiner for vitenskapelige assistenter</dc:title>
  <dc:creator>Tarjei Brekke</dc:creator>
  <cp:lastModifiedBy>Tarjei Brekke</cp:lastModifiedBy>
  <cp:revision>267</cp:revision>
  <dcterms:created xsi:type="dcterms:W3CDTF">2022-08-22T07:48:35Z</dcterms:created>
  <dcterms:modified xsi:type="dcterms:W3CDTF">2022-10-13T11:57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D92D25D0A6CD24BA433C8F5496EA190</vt:lpwstr>
  </property>
  <property fmtid="{D5CDD505-2E9C-101B-9397-08002B2CF9AE}" pid="3" name="MediaServiceImageTags">
    <vt:lpwstr/>
  </property>
  <property fmtid="{D5CDD505-2E9C-101B-9397-08002B2CF9AE}" pid="4" name="_dlc_DocIdItemGuid">
    <vt:lpwstr>e1ba8df5-1c55-4d83-8486-5b6b738896d5</vt:lpwstr>
  </property>
</Properties>
</file>